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notesMasters/notesMaster1.xml" ContentType="application/vnd.openxmlformats-officedocument.presentationml.notes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Override PartName="/ppt/theme/theme2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notesSlides/notesSlide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tags/tag5.xml" ContentType="application/vnd.openxmlformats-officedocument.presentationml.tags+xml"/>
  <Override PartName="/ppt/notesSlides/notesSlide2.xml" ContentType="application/vnd.openxmlformats-officedocument.presentationml.notesSlide+xml"/>
  <Override PartName="/ppt/tags/tag6.xml" ContentType="application/vnd.openxmlformats-officedocument.presentationml.tags+xml"/>
  <Override PartName="/ppt/notesSlides/notesSlide3.xml" ContentType="application/vnd.openxmlformats-officedocument.presentationml.notesSlide+xml"/>
  <Override PartName="/ppt/tags/tag7.xml" ContentType="application/vnd.openxmlformats-officedocument.presentationml.tags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theme/themeOverride1.xml" ContentType="application/vnd.openxmlformats-officedocument.themeOverride+xml"/>
  <Override PartName="/ppt/tags/tag8.xml" ContentType="application/vnd.openxmlformats-officedocument.presentationml.tags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</p:sldMasterIdLst>
  <p:notesMasterIdLst>
    <p:notesMasterId r:id="rId11"/>
  </p:notesMasterIdLst>
  <p:sldIdLst>
    <p:sldId id="257" r:id="rId2"/>
    <p:sldId id="2146846301" r:id="rId3"/>
    <p:sldId id="259" r:id="rId4"/>
    <p:sldId id="260" r:id="rId5"/>
    <p:sldId id="261" r:id="rId6"/>
    <p:sldId id="262" r:id="rId7"/>
    <p:sldId id="263" r:id="rId8"/>
    <p:sldId id="264" r:id="rId9"/>
    <p:sldId id="265" r:id="rId10"/>
  </p:sldIdLst>
  <p:sldSz cx="12192000" cy="6858000"/>
  <p:notesSz cx="6858000" cy="9144000"/>
  <p:custDataLst>
    <p:tags r:id="rId12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clrMru>
    <a:srgbClr val="FF7F7F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A17E44E4-2F98-4407-9852-456C732C0D87}" v="507" dt="2024-01-24T15:36:03.584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5987" autoAdjust="0"/>
    <p:restoredTop sz="94660"/>
  </p:normalViewPr>
  <p:slideViewPr>
    <p:cSldViewPr snapToGrid="0">
      <p:cViewPr varScale="1">
        <p:scale>
          <a:sx n="114" d="100"/>
          <a:sy n="114" d="100"/>
        </p:scale>
        <p:origin x="414" y="10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18" Type="http://schemas.microsoft.com/office/2015/10/relationships/revisionInfo" Target="revisionInfo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tags" Target="tags/tag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notesMaster" Target="notesMasters/notesMaster1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erchant, Vinay K" userId="d7ed8cd2-8065-4ad3-9e81-35626bcf9c5c" providerId="ADAL" clId="{A17E44E4-2F98-4407-9852-456C732C0D87}"/>
    <pc:docChg chg="undo custSel modSld replTag">
      <pc:chgData name="Merchant, Vinay K" userId="d7ed8cd2-8065-4ad3-9e81-35626bcf9c5c" providerId="ADAL" clId="{A17E44E4-2F98-4407-9852-456C732C0D87}" dt="2024-01-30T16:24:18.834" v="6209" actId="20577"/>
      <pc:docMkLst>
        <pc:docMk/>
      </pc:docMkLst>
      <pc:sldChg chg="addSp delSp modSp mod">
        <pc:chgData name="Merchant, Vinay K" userId="d7ed8cd2-8065-4ad3-9e81-35626bcf9c5c" providerId="ADAL" clId="{A17E44E4-2F98-4407-9852-456C732C0D87}" dt="2024-01-24T04:31:19.990" v="6128" actId="1076"/>
        <pc:sldMkLst>
          <pc:docMk/>
          <pc:sldMk cId="848726867" sldId="257"/>
        </pc:sldMkLst>
        <pc:spChg chg="mod">
          <ac:chgData name="Merchant, Vinay K" userId="d7ed8cd2-8065-4ad3-9e81-35626bcf9c5c" providerId="ADAL" clId="{A17E44E4-2F98-4407-9852-456C732C0D87}" dt="2024-01-24T04:31:03.392" v="6099" actId="948"/>
          <ac:spMkLst>
            <pc:docMk/>
            <pc:sldMk cId="848726867" sldId="257"/>
            <ac:spMk id="2" creationId="{C77DDC7C-A6DF-4CCE-AC63-C82E19E0D3F7}"/>
          </ac:spMkLst>
        </pc:spChg>
        <pc:spChg chg="add del mod modVis">
          <ac:chgData name="Merchant, Vinay K" userId="d7ed8cd2-8065-4ad3-9e81-35626bcf9c5c" providerId="ADAL" clId="{A17E44E4-2F98-4407-9852-456C732C0D87}" dt="2024-01-12T20:01:24.339" v="306"/>
          <ac:spMkLst>
            <pc:docMk/>
            <pc:sldMk cId="848726867" sldId="257"/>
            <ac:spMk id="3" creationId="{597872C8-F73D-DDA3-76F9-543D7EFE8BC0}"/>
          </ac:spMkLst>
        </pc:spChg>
        <pc:spChg chg="add del mod">
          <ac:chgData name="Merchant, Vinay K" userId="d7ed8cd2-8065-4ad3-9e81-35626bcf9c5c" providerId="ADAL" clId="{A17E44E4-2F98-4407-9852-456C732C0D87}" dt="2024-01-24T04:28:04.869" v="5957" actId="14826"/>
          <ac:spMkLst>
            <pc:docMk/>
            <pc:sldMk cId="848726867" sldId="257"/>
            <ac:spMk id="3" creationId="{9414AF3C-0984-29A1-C47E-7150E9013194}"/>
          </ac:spMkLst>
        </pc:spChg>
        <pc:spChg chg="add del mod modVis">
          <ac:chgData name="Merchant, Vinay K" userId="d7ed8cd2-8065-4ad3-9e81-35626bcf9c5c" providerId="ADAL" clId="{A17E44E4-2F98-4407-9852-456C732C0D87}" dt="2024-01-24T04:29:27.305" v="5994"/>
          <ac:spMkLst>
            <pc:docMk/>
            <pc:sldMk cId="848726867" sldId="257"/>
            <ac:spMk id="4" creationId="{0D3E3755-5DC1-E11A-8B20-09DB7FC526DD}"/>
          </ac:spMkLst>
        </pc:spChg>
        <pc:spChg chg="add del mod modVis">
          <ac:chgData name="Merchant, Vinay K" userId="d7ed8cd2-8065-4ad3-9e81-35626bcf9c5c" providerId="ADAL" clId="{A17E44E4-2F98-4407-9852-456C732C0D87}" dt="2024-01-12T20:01:26.486" v="340"/>
          <ac:spMkLst>
            <pc:docMk/>
            <pc:sldMk cId="848726867" sldId="257"/>
            <ac:spMk id="4" creationId="{3A34E298-8392-C85E-E079-3456F74BCA81}"/>
          </ac:spMkLst>
        </pc:spChg>
        <pc:spChg chg="add del mod modVis">
          <ac:chgData name="Merchant, Vinay K" userId="d7ed8cd2-8065-4ad3-9e81-35626bcf9c5c" providerId="ADAL" clId="{A17E44E4-2F98-4407-9852-456C732C0D87}" dt="2024-01-12T20:01:27.505" v="370"/>
          <ac:spMkLst>
            <pc:docMk/>
            <pc:sldMk cId="848726867" sldId="257"/>
            <ac:spMk id="6" creationId="{0D095F34-E642-2BD7-BCF2-055C11A73EBC}"/>
          </ac:spMkLst>
        </pc:spChg>
        <pc:spChg chg="add del mod modVis">
          <ac:chgData name="Merchant, Vinay K" userId="d7ed8cd2-8065-4ad3-9e81-35626bcf9c5c" providerId="ADAL" clId="{A17E44E4-2F98-4407-9852-456C732C0D87}" dt="2024-01-24T04:30:36.926" v="6034"/>
          <ac:spMkLst>
            <pc:docMk/>
            <pc:sldMk cId="848726867" sldId="257"/>
            <ac:spMk id="6" creationId="{C2AE1696-CA3E-D6EC-E570-232B59F469FE}"/>
          </ac:spMkLst>
        </pc:spChg>
        <pc:spChg chg="add del mod modVis">
          <ac:chgData name="Merchant, Vinay K" userId="d7ed8cd2-8065-4ad3-9e81-35626bcf9c5c" providerId="ADAL" clId="{A17E44E4-2F98-4407-9852-456C732C0D87}" dt="2024-01-24T04:30:38.422" v="6062"/>
          <ac:spMkLst>
            <pc:docMk/>
            <pc:sldMk cId="848726867" sldId="257"/>
            <ac:spMk id="7" creationId="{ACB4B9CC-7047-FC29-423D-6C7A0A364FC4}"/>
          </ac:spMkLst>
        </pc:spChg>
        <pc:spChg chg="add del mod modVis">
          <ac:chgData name="Merchant, Vinay K" userId="d7ed8cd2-8065-4ad3-9e81-35626bcf9c5c" providerId="ADAL" clId="{A17E44E4-2F98-4407-9852-456C732C0D87}" dt="2024-01-12T20:01:28.562" v="398"/>
          <ac:spMkLst>
            <pc:docMk/>
            <pc:sldMk cId="848726867" sldId="257"/>
            <ac:spMk id="7" creationId="{DC74B7DE-3DE4-E7F0-DA41-536742ECBA48}"/>
          </ac:spMkLst>
        </pc:spChg>
        <pc:spChg chg="add del mod modVis">
          <ac:chgData name="Merchant, Vinay K" userId="d7ed8cd2-8065-4ad3-9e81-35626bcf9c5c" providerId="ADAL" clId="{A17E44E4-2F98-4407-9852-456C732C0D87}" dt="2024-01-12T20:01:29.620" v="426"/>
          <ac:spMkLst>
            <pc:docMk/>
            <pc:sldMk cId="848726867" sldId="257"/>
            <ac:spMk id="9" creationId="{61FB1F0F-78F8-EC29-0EEF-877B049B66AE}"/>
          </ac:spMkLst>
        </pc:spChg>
        <pc:spChg chg="add del mod modVis">
          <ac:chgData name="Merchant, Vinay K" userId="d7ed8cd2-8065-4ad3-9e81-35626bcf9c5c" providerId="ADAL" clId="{A17E44E4-2F98-4407-9852-456C732C0D87}" dt="2024-01-24T04:30:59.079" v="6095"/>
          <ac:spMkLst>
            <pc:docMk/>
            <pc:sldMk cId="848726867" sldId="257"/>
            <ac:spMk id="9" creationId="{D44F5649-C659-A94D-3321-F9CAED9BD2E0}"/>
          </ac:spMkLst>
        </pc:spChg>
        <pc:spChg chg="add del mod modVis">
          <ac:chgData name="Merchant, Vinay K" userId="d7ed8cd2-8065-4ad3-9e81-35626bcf9c5c" providerId="ADAL" clId="{A17E44E4-2F98-4407-9852-456C732C0D87}" dt="2024-01-12T20:01:30.351" v="455"/>
          <ac:spMkLst>
            <pc:docMk/>
            <pc:sldMk cId="848726867" sldId="257"/>
            <ac:spMk id="10" creationId="{43A562D0-00F9-A9C8-C328-B2EFECE05594}"/>
          </ac:spMkLst>
        </pc:spChg>
        <pc:spChg chg="add del mod modVis">
          <ac:chgData name="Merchant, Vinay K" userId="d7ed8cd2-8065-4ad3-9e81-35626bcf9c5c" providerId="ADAL" clId="{A17E44E4-2F98-4407-9852-456C732C0D87}" dt="2024-01-24T04:31:03.413" v="6123"/>
          <ac:spMkLst>
            <pc:docMk/>
            <pc:sldMk cId="848726867" sldId="257"/>
            <ac:spMk id="10" creationId="{51868CE0-FED7-02F6-118E-E085711183C6}"/>
          </ac:spMkLst>
        </pc:spChg>
        <pc:spChg chg="add del mod modVis">
          <ac:chgData name="Merchant, Vinay K" userId="d7ed8cd2-8065-4ad3-9e81-35626bcf9c5c" providerId="ADAL" clId="{A17E44E4-2F98-4407-9852-456C732C0D87}" dt="2024-01-12T20:01:33.613" v="486"/>
          <ac:spMkLst>
            <pc:docMk/>
            <pc:sldMk cId="848726867" sldId="257"/>
            <ac:spMk id="11" creationId="{2FD40B25-0C69-0921-DC37-67C5DBCF6F5F}"/>
          </ac:spMkLst>
        </pc:spChg>
        <pc:spChg chg="add del mod modVis">
          <ac:chgData name="Merchant, Vinay K" userId="d7ed8cd2-8065-4ad3-9e81-35626bcf9c5c" providerId="ADAL" clId="{A17E44E4-2F98-4407-9852-456C732C0D87}" dt="2024-01-12T20:01:35.451" v="515"/>
          <ac:spMkLst>
            <pc:docMk/>
            <pc:sldMk cId="848726867" sldId="257"/>
            <ac:spMk id="12" creationId="{6BC341C6-20E9-5D5C-DAA3-2EFD250CD363}"/>
          </ac:spMkLst>
        </pc:spChg>
        <pc:spChg chg="mod">
          <ac:chgData name="Merchant, Vinay K" userId="d7ed8cd2-8065-4ad3-9e81-35626bcf9c5c" providerId="ADAL" clId="{A17E44E4-2F98-4407-9852-456C732C0D87}" dt="2024-01-24T04:29:02.052" v="5963" actId="1076"/>
          <ac:spMkLst>
            <pc:docMk/>
            <pc:sldMk cId="848726867" sldId="257"/>
            <ac:spMk id="13" creationId="{1F3C1EC1-551D-DB5D-A919-946888998EEC}"/>
          </ac:spMkLst>
        </pc:spChg>
        <pc:spChg chg="add del mod modVis">
          <ac:chgData name="Merchant, Vinay K" userId="d7ed8cd2-8065-4ad3-9e81-35626bcf9c5c" providerId="ADAL" clId="{A17E44E4-2F98-4407-9852-456C732C0D87}" dt="2024-01-12T20:01:37.167" v="543"/>
          <ac:spMkLst>
            <pc:docMk/>
            <pc:sldMk cId="848726867" sldId="257"/>
            <ac:spMk id="14" creationId="{6DFD6CCE-4186-8F67-0B5C-3209E2E2374F}"/>
          </ac:spMkLst>
        </pc:spChg>
        <pc:spChg chg="add del mod modVis">
          <ac:chgData name="Merchant, Vinay K" userId="d7ed8cd2-8065-4ad3-9e81-35626bcf9c5c" providerId="ADAL" clId="{A17E44E4-2F98-4407-9852-456C732C0D87}" dt="2024-01-12T20:01:45.197" v="571"/>
          <ac:spMkLst>
            <pc:docMk/>
            <pc:sldMk cId="848726867" sldId="257"/>
            <ac:spMk id="15" creationId="{C201761E-1543-9D6C-B4A3-0D83E1310538}"/>
          </ac:spMkLst>
        </pc:spChg>
        <pc:spChg chg="mod">
          <ac:chgData name="Merchant, Vinay K" userId="d7ed8cd2-8065-4ad3-9e81-35626bcf9c5c" providerId="ADAL" clId="{A17E44E4-2F98-4407-9852-456C732C0D87}" dt="2024-01-24T04:31:19.990" v="6128" actId="1076"/>
          <ac:spMkLst>
            <pc:docMk/>
            <pc:sldMk cId="848726867" sldId="257"/>
            <ac:spMk id="16" creationId="{A3441307-C576-4B4C-A7E0-6E4282951633}"/>
          </ac:spMkLst>
        </pc:spChg>
        <pc:spChg chg="mod">
          <ac:chgData name="Merchant, Vinay K" userId="d7ed8cd2-8065-4ad3-9e81-35626bcf9c5c" providerId="ADAL" clId="{A17E44E4-2F98-4407-9852-456C732C0D87}" dt="2024-01-24T04:31:07.409" v="6126" actId="1076"/>
          <ac:spMkLst>
            <pc:docMk/>
            <pc:sldMk cId="848726867" sldId="257"/>
            <ac:spMk id="17" creationId="{4DF9D580-FA04-4885-9484-E160C22D309F}"/>
          </ac:spMkLst>
        </pc:spChg>
        <pc:spChg chg="add del mod modVis">
          <ac:chgData name="Merchant, Vinay K" userId="d7ed8cd2-8065-4ad3-9e81-35626bcf9c5c" providerId="ADAL" clId="{A17E44E4-2F98-4407-9852-456C732C0D87}" dt="2024-01-12T20:01:46.763" v="599"/>
          <ac:spMkLst>
            <pc:docMk/>
            <pc:sldMk cId="848726867" sldId="257"/>
            <ac:spMk id="18" creationId="{BDF02C0D-B89B-CA4C-829A-12105B67917F}"/>
          </ac:spMkLst>
        </pc:spChg>
        <pc:spChg chg="add del mod modVis">
          <ac:chgData name="Merchant, Vinay K" userId="d7ed8cd2-8065-4ad3-9e81-35626bcf9c5c" providerId="ADAL" clId="{A17E44E4-2F98-4407-9852-456C732C0D87}" dt="2024-01-12T20:01:52.115" v="627"/>
          <ac:spMkLst>
            <pc:docMk/>
            <pc:sldMk cId="848726867" sldId="257"/>
            <ac:spMk id="19" creationId="{BBF5CCE9-1330-7BBC-BBD6-5877E816E867}"/>
          </ac:spMkLst>
        </pc:spChg>
        <pc:spChg chg="add del mod modVis">
          <ac:chgData name="Merchant, Vinay K" userId="d7ed8cd2-8065-4ad3-9e81-35626bcf9c5c" providerId="ADAL" clId="{A17E44E4-2F98-4407-9852-456C732C0D87}" dt="2024-01-12T20:01:55.691" v="655"/>
          <ac:spMkLst>
            <pc:docMk/>
            <pc:sldMk cId="848726867" sldId="257"/>
            <ac:spMk id="21" creationId="{7078770F-4BC4-90E2-D154-172BDBA48AF9}"/>
          </ac:spMkLst>
        </pc:spChg>
        <pc:spChg chg="add del mod modVis">
          <ac:chgData name="Merchant, Vinay K" userId="d7ed8cd2-8065-4ad3-9e81-35626bcf9c5c" providerId="ADAL" clId="{A17E44E4-2F98-4407-9852-456C732C0D87}" dt="2024-01-12T20:01:57.449" v="691"/>
          <ac:spMkLst>
            <pc:docMk/>
            <pc:sldMk cId="848726867" sldId="257"/>
            <ac:spMk id="22" creationId="{2E97C851-AAD2-B8F4-4AEE-15BD9E1E7782}"/>
          </ac:spMkLst>
        </pc:spChg>
        <pc:spChg chg="add del mod modVis">
          <ac:chgData name="Merchant, Vinay K" userId="d7ed8cd2-8065-4ad3-9e81-35626bcf9c5c" providerId="ADAL" clId="{A17E44E4-2F98-4407-9852-456C732C0D87}" dt="2024-01-12T20:01:59.277" v="719"/>
          <ac:spMkLst>
            <pc:docMk/>
            <pc:sldMk cId="848726867" sldId="257"/>
            <ac:spMk id="23" creationId="{164AA774-05B0-323C-15C9-A16D2B31243E}"/>
          </ac:spMkLst>
        </pc:spChg>
        <pc:spChg chg="add del mod modVis">
          <ac:chgData name="Merchant, Vinay K" userId="d7ed8cd2-8065-4ad3-9e81-35626bcf9c5c" providerId="ADAL" clId="{A17E44E4-2F98-4407-9852-456C732C0D87}" dt="2024-01-12T20:03:19.364" v="1058" actId="962"/>
          <ac:spMkLst>
            <pc:docMk/>
            <pc:sldMk cId="848726867" sldId="257"/>
            <ac:spMk id="24" creationId="{2970C8AB-EBA9-0147-B4EA-4A401655DF21}"/>
          </ac:spMkLst>
        </pc:spChg>
        <pc:spChg chg="add del mod modVis">
          <ac:chgData name="Merchant, Vinay K" userId="d7ed8cd2-8065-4ad3-9e81-35626bcf9c5c" providerId="ADAL" clId="{A17E44E4-2F98-4407-9852-456C732C0D87}" dt="2024-01-12T20:03:17.804" v="1030" actId="962"/>
          <ac:spMkLst>
            <pc:docMk/>
            <pc:sldMk cId="848726867" sldId="257"/>
            <ac:spMk id="25" creationId="{A93A39F8-F3C0-4FE0-D29B-149CB54FC44B}"/>
          </ac:spMkLst>
        </pc:spChg>
        <pc:spChg chg="add del mod modVis">
          <ac:chgData name="Merchant, Vinay K" userId="d7ed8cd2-8065-4ad3-9e81-35626bcf9c5c" providerId="ADAL" clId="{A17E44E4-2F98-4407-9852-456C732C0D87}" dt="2024-01-12T20:03:16.915" v="1003" actId="962"/>
          <ac:spMkLst>
            <pc:docMk/>
            <pc:sldMk cId="848726867" sldId="257"/>
            <ac:spMk id="26" creationId="{1FAFB2A2-8C90-CDAF-F5EF-F19CA78159BF}"/>
          </ac:spMkLst>
        </pc:spChg>
        <pc:spChg chg="add del mod modVis">
          <ac:chgData name="Merchant, Vinay K" userId="d7ed8cd2-8065-4ad3-9e81-35626bcf9c5c" providerId="ADAL" clId="{A17E44E4-2F98-4407-9852-456C732C0D87}" dt="2024-01-12T20:03:15.186" v="973" actId="962"/>
          <ac:spMkLst>
            <pc:docMk/>
            <pc:sldMk cId="848726867" sldId="257"/>
            <ac:spMk id="27" creationId="{321562A8-79C3-B43E-9B0B-94FCAC753247}"/>
          </ac:spMkLst>
        </pc:spChg>
        <pc:spChg chg="add del mod modVis">
          <ac:chgData name="Merchant, Vinay K" userId="d7ed8cd2-8065-4ad3-9e81-35626bcf9c5c" providerId="ADAL" clId="{A17E44E4-2F98-4407-9852-456C732C0D87}" dt="2024-01-12T20:03:14.798" v="946" actId="962"/>
          <ac:spMkLst>
            <pc:docMk/>
            <pc:sldMk cId="848726867" sldId="257"/>
            <ac:spMk id="28" creationId="{B181B538-7CA9-04FE-BCE8-C29390B43FB5}"/>
          </ac:spMkLst>
        </pc:spChg>
        <pc:spChg chg="add del mod modVis">
          <ac:chgData name="Merchant, Vinay K" userId="d7ed8cd2-8065-4ad3-9e81-35626bcf9c5c" providerId="ADAL" clId="{A17E44E4-2F98-4407-9852-456C732C0D87}" dt="2024-01-12T20:03:14.102" v="919" actId="962"/>
          <ac:spMkLst>
            <pc:docMk/>
            <pc:sldMk cId="848726867" sldId="257"/>
            <ac:spMk id="29" creationId="{99DA9F5E-83BD-A2AA-3BE6-E4B3F65001C1}"/>
          </ac:spMkLst>
        </pc:spChg>
        <pc:graphicFrameChg chg="mod">
          <ac:chgData name="Merchant, Vinay K" userId="d7ed8cd2-8065-4ad3-9e81-35626bcf9c5c" providerId="ADAL" clId="{A17E44E4-2F98-4407-9852-456C732C0D87}" dt="2024-01-24T04:31:03.415" v="6125"/>
          <ac:graphicFrameMkLst>
            <pc:docMk/>
            <pc:sldMk cId="848726867" sldId="257"/>
            <ac:graphicFrameMk id="8" creationId="{33AD33B4-F077-889C-EE5D-FDA5B3AE92B9}"/>
          </ac:graphicFrameMkLst>
        </pc:graphicFrameChg>
        <pc:picChg chg="add del mod">
          <ac:chgData name="Merchant, Vinay K" userId="d7ed8cd2-8065-4ad3-9e81-35626bcf9c5c" providerId="ADAL" clId="{A17E44E4-2F98-4407-9852-456C732C0D87}" dt="2024-01-24T04:30:54.346" v="6069" actId="1076"/>
          <ac:picMkLst>
            <pc:docMk/>
            <pc:sldMk cId="848726867" sldId="257"/>
            <ac:picMk id="5" creationId="{BB17A491-8092-2942-BDE9-EA6FEFFB21BB}"/>
          </ac:picMkLst>
        </pc:picChg>
        <pc:picChg chg="mod">
          <ac:chgData name="Merchant, Vinay K" userId="d7ed8cd2-8065-4ad3-9e81-35626bcf9c5c" providerId="ADAL" clId="{A17E44E4-2F98-4407-9852-456C732C0D87}" dt="2024-01-24T04:31:12.306" v="6127" actId="1076"/>
          <ac:picMkLst>
            <pc:docMk/>
            <pc:sldMk cId="848726867" sldId="257"/>
            <ac:picMk id="20" creationId="{2FE2CBA9-6AC7-455B-9F7C-2BA735848D76}"/>
          </ac:picMkLst>
        </pc:picChg>
      </pc:sldChg>
      <pc:sldChg chg="addSp delSp modSp mod">
        <pc:chgData name="Merchant, Vinay K" userId="d7ed8cd2-8065-4ad3-9e81-35626bcf9c5c" providerId="ADAL" clId="{A17E44E4-2F98-4407-9852-456C732C0D87}" dt="2024-01-30T16:24:18.834" v="6209" actId="20577"/>
        <pc:sldMkLst>
          <pc:docMk/>
          <pc:sldMk cId="109857222" sldId="259"/>
        </pc:sldMkLst>
        <pc:spChg chg="add del mod">
          <ac:chgData name="Merchant, Vinay K" userId="d7ed8cd2-8065-4ad3-9e81-35626bcf9c5c" providerId="ADAL" clId="{A17E44E4-2F98-4407-9852-456C732C0D87}" dt="2024-01-12T20:34:55.769" v="1815" actId="478"/>
          <ac:spMkLst>
            <pc:docMk/>
            <pc:sldMk cId="109857222" sldId="259"/>
            <ac:spMk id="2" creationId="{F08FB3D0-BF9C-904D-12F6-7EB7A04CBA55}"/>
          </ac:spMkLst>
        </pc:spChg>
        <pc:spChg chg="mod">
          <ac:chgData name="Merchant, Vinay K" userId="d7ed8cd2-8065-4ad3-9e81-35626bcf9c5c" providerId="ADAL" clId="{A17E44E4-2F98-4407-9852-456C732C0D87}" dt="2024-01-16T17:31:43.378" v="1825" actId="20577"/>
          <ac:spMkLst>
            <pc:docMk/>
            <pc:sldMk cId="109857222" sldId="259"/>
            <ac:spMk id="7" creationId="{1CF3A130-9335-4264-94A3-2C774A7A29C7}"/>
          </ac:spMkLst>
        </pc:spChg>
        <pc:spChg chg="mod">
          <ac:chgData name="Merchant, Vinay K" userId="d7ed8cd2-8065-4ad3-9e81-35626bcf9c5c" providerId="ADAL" clId="{A17E44E4-2F98-4407-9852-456C732C0D87}" dt="2024-01-30T16:24:18.834" v="6209" actId="20577"/>
          <ac:spMkLst>
            <pc:docMk/>
            <pc:sldMk cId="109857222" sldId="259"/>
            <ac:spMk id="8" creationId="{8F18F444-A400-D825-178F-188CC00D02AE}"/>
          </ac:spMkLst>
        </pc:spChg>
        <pc:picChg chg="mod">
          <ac:chgData name="Merchant, Vinay K" userId="d7ed8cd2-8065-4ad3-9e81-35626bcf9c5c" providerId="ADAL" clId="{A17E44E4-2F98-4407-9852-456C732C0D87}" dt="2024-01-12T20:30:08.605" v="1770" actId="1076"/>
          <ac:picMkLst>
            <pc:docMk/>
            <pc:sldMk cId="109857222" sldId="259"/>
            <ac:picMk id="4" creationId="{FC8F7F45-7055-964A-3697-B1F156302A8F}"/>
          </ac:picMkLst>
        </pc:picChg>
        <pc:picChg chg="mod">
          <ac:chgData name="Merchant, Vinay K" userId="d7ed8cd2-8065-4ad3-9e81-35626bcf9c5c" providerId="ADAL" clId="{A17E44E4-2F98-4407-9852-456C732C0D87}" dt="2024-01-12T20:30:11.481" v="1771" actId="1076"/>
          <ac:picMkLst>
            <pc:docMk/>
            <pc:sldMk cId="109857222" sldId="259"/>
            <ac:picMk id="5" creationId="{899949FF-F998-70BA-D9BA-CA2AA247E266}"/>
          </ac:picMkLst>
        </pc:picChg>
        <pc:picChg chg="mod">
          <ac:chgData name="Merchant, Vinay K" userId="d7ed8cd2-8065-4ad3-9e81-35626bcf9c5c" providerId="ADAL" clId="{A17E44E4-2F98-4407-9852-456C732C0D87}" dt="2024-01-12T20:29:59.798" v="1767" actId="1076"/>
          <ac:picMkLst>
            <pc:docMk/>
            <pc:sldMk cId="109857222" sldId="259"/>
            <ac:picMk id="6" creationId="{1688C5A7-3726-AA56-5F3B-D5CCE5BB065F}"/>
          </ac:picMkLst>
        </pc:picChg>
      </pc:sldChg>
      <pc:sldChg chg="addSp delSp modSp mod">
        <pc:chgData name="Merchant, Vinay K" userId="d7ed8cd2-8065-4ad3-9e81-35626bcf9c5c" providerId="ADAL" clId="{A17E44E4-2F98-4407-9852-456C732C0D87}" dt="2024-01-18T17:51:54.490" v="4968" actId="20577"/>
        <pc:sldMkLst>
          <pc:docMk/>
          <pc:sldMk cId="1383880767" sldId="260"/>
        </pc:sldMkLst>
        <pc:spChg chg="add del mod modVis">
          <ac:chgData name="Merchant, Vinay K" userId="d7ed8cd2-8065-4ad3-9e81-35626bcf9c5c" providerId="ADAL" clId="{A17E44E4-2F98-4407-9852-456C732C0D87}" dt="2024-01-12T20:07:02.244" v="1255"/>
          <ac:spMkLst>
            <pc:docMk/>
            <pc:sldMk cId="1383880767" sldId="260"/>
            <ac:spMk id="2" creationId="{5AE1E9BB-FD62-1D62-1883-DF54697D3EF4}"/>
          </ac:spMkLst>
        </pc:spChg>
        <pc:spChg chg="mod">
          <ac:chgData name="Merchant, Vinay K" userId="d7ed8cd2-8065-4ad3-9e81-35626bcf9c5c" providerId="ADAL" clId="{A17E44E4-2F98-4407-9852-456C732C0D87}" dt="2024-01-12T20:07:06.204" v="1301" actId="948"/>
          <ac:spMkLst>
            <pc:docMk/>
            <pc:sldMk cId="1383880767" sldId="260"/>
            <ac:spMk id="3" creationId="{8E26F66C-8B72-421B-9AC6-13AA752E319B}"/>
          </ac:spMkLst>
        </pc:spChg>
        <pc:spChg chg="add del mod modVis">
          <ac:chgData name="Merchant, Vinay K" userId="d7ed8cd2-8065-4ad3-9e81-35626bcf9c5c" providerId="ADAL" clId="{A17E44E4-2F98-4407-9852-456C732C0D87}" dt="2024-01-12T20:07:04.969" v="1295"/>
          <ac:spMkLst>
            <pc:docMk/>
            <pc:sldMk cId="1383880767" sldId="260"/>
            <ac:spMk id="7" creationId="{B9FC0B7E-E550-8C02-6569-ADCACC8DC5F0}"/>
          </ac:spMkLst>
        </pc:spChg>
        <pc:spChg chg="add del mod modVis">
          <ac:chgData name="Merchant, Vinay K" userId="d7ed8cd2-8065-4ad3-9e81-35626bcf9c5c" providerId="ADAL" clId="{A17E44E4-2F98-4407-9852-456C732C0D87}" dt="2024-01-12T20:07:06.286" v="1325"/>
          <ac:spMkLst>
            <pc:docMk/>
            <pc:sldMk cId="1383880767" sldId="260"/>
            <ac:spMk id="9" creationId="{80BD9452-5B99-34B6-C636-DA05FD248728}"/>
          </ac:spMkLst>
        </pc:spChg>
        <pc:spChg chg="add del">
          <ac:chgData name="Merchant, Vinay K" userId="d7ed8cd2-8065-4ad3-9e81-35626bcf9c5c" providerId="ADAL" clId="{A17E44E4-2F98-4407-9852-456C732C0D87}" dt="2024-01-12T20:09:06.764" v="1342"/>
          <ac:spMkLst>
            <pc:docMk/>
            <pc:sldMk cId="1383880767" sldId="260"/>
            <ac:spMk id="10" creationId="{BD22A371-2FCA-91F8-A7B4-23BABB24BE38}"/>
          </ac:spMkLst>
        </pc:spChg>
        <pc:spChg chg="mod">
          <ac:chgData name="Merchant, Vinay K" userId="d7ed8cd2-8065-4ad3-9e81-35626bcf9c5c" providerId="ADAL" clId="{A17E44E4-2F98-4407-9852-456C732C0D87}" dt="2024-01-18T17:51:54.490" v="4968" actId="20577"/>
          <ac:spMkLst>
            <pc:docMk/>
            <pc:sldMk cId="1383880767" sldId="260"/>
            <ac:spMk id="49" creationId="{9EE4A54D-D34A-48AB-AFDA-4D288EF47F05}"/>
          </ac:spMkLst>
        </pc:spChg>
        <pc:spChg chg="mod">
          <ac:chgData name="Merchant, Vinay K" userId="d7ed8cd2-8065-4ad3-9e81-35626bcf9c5c" providerId="ADAL" clId="{A17E44E4-2F98-4407-9852-456C732C0D87}" dt="2024-01-18T15:39:46.994" v="2116" actId="20577"/>
          <ac:spMkLst>
            <pc:docMk/>
            <pc:sldMk cId="1383880767" sldId="260"/>
            <ac:spMk id="50" creationId="{80FAB1BF-6CF3-4502-AB00-CC0024743264}"/>
          </ac:spMkLst>
        </pc:spChg>
        <pc:graphicFrameChg chg="mod">
          <ac:chgData name="Merchant, Vinay K" userId="d7ed8cd2-8065-4ad3-9e81-35626bcf9c5c" providerId="ADAL" clId="{A17E44E4-2F98-4407-9852-456C732C0D87}" dt="2024-01-12T20:07:06.294" v="1327"/>
          <ac:graphicFrameMkLst>
            <pc:docMk/>
            <pc:sldMk cId="1383880767" sldId="260"/>
            <ac:graphicFrameMk id="6" creationId="{16BD264B-AAE1-E613-DBA9-BBDE6B2C37C4}"/>
          </ac:graphicFrameMkLst>
        </pc:graphicFrameChg>
        <pc:picChg chg="add mod">
          <ac:chgData name="Merchant, Vinay K" userId="d7ed8cd2-8065-4ad3-9e81-35626bcf9c5c" providerId="ADAL" clId="{A17E44E4-2F98-4407-9852-456C732C0D87}" dt="2024-01-12T20:09:29.243" v="1346" actId="1076"/>
          <ac:picMkLst>
            <pc:docMk/>
            <pc:sldMk cId="1383880767" sldId="260"/>
            <ac:picMk id="11" creationId="{589CE2F6-42BC-258E-7819-CAF1E15BB098}"/>
          </ac:picMkLst>
        </pc:picChg>
        <pc:picChg chg="del">
          <ac:chgData name="Merchant, Vinay K" userId="d7ed8cd2-8065-4ad3-9e81-35626bcf9c5c" providerId="ADAL" clId="{A17E44E4-2F98-4407-9852-456C732C0D87}" dt="2024-01-12T20:08:26.290" v="1338" actId="478"/>
          <ac:picMkLst>
            <pc:docMk/>
            <pc:sldMk cId="1383880767" sldId="260"/>
            <ac:picMk id="16" creationId="{37374B27-1197-4138-8958-A1EAF166D0DF}"/>
          </ac:picMkLst>
        </pc:picChg>
      </pc:sldChg>
      <pc:sldChg chg="addSp delSp modSp mod">
        <pc:chgData name="Merchant, Vinay K" userId="d7ed8cd2-8065-4ad3-9e81-35626bcf9c5c" providerId="ADAL" clId="{A17E44E4-2F98-4407-9852-456C732C0D87}" dt="2024-01-24T15:38:24.300" v="6132" actId="20577"/>
        <pc:sldMkLst>
          <pc:docMk/>
          <pc:sldMk cId="498387278" sldId="261"/>
        </pc:sldMkLst>
        <pc:spChg chg="add del mod modVis">
          <ac:chgData name="Merchant, Vinay K" userId="d7ed8cd2-8065-4ad3-9e81-35626bcf9c5c" providerId="ADAL" clId="{A17E44E4-2F98-4407-9852-456C732C0D87}" dt="2024-01-18T15:40:07.338" v="2161"/>
          <ac:spMkLst>
            <pc:docMk/>
            <pc:sldMk cId="498387278" sldId="261"/>
            <ac:spMk id="2" creationId="{DDA72770-8716-1A42-419E-A289435FA4E8}"/>
          </ac:spMkLst>
        </pc:spChg>
        <pc:spChg chg="mod">
          <ac:chgData name="Merchant, Vinay K" userId="d7ed8cd2-8065-4ad3-9e81-35626bcf9c5c" providerId="ADAL" clId="{A17E44E4-2F98-4407-9852-456C732C0D87}" dt="2024-01-22T19:38:59.988" v="5148" actId="1076"/>
          <ac:spMkLst>
            <pc:docMk/>
            <pc:sldMk cId="498387278" sldId="261"/>
            <ac:spMk id="3" creationId="{8E26F66C-8B72-421B-9AC6-13AA752E319B}"/>
          </ac:spMkLst>
        </pc:spChg>
        <pc:spChg chg="add del mod modVis">
          <ac:chgData name="Merchant, Vinay K" userId="d7ed8cd2-8065-4ad3-9e81-35626bcf9c5c" providerId="ADAL" clId="{A17E44E4-2F98-4407-9852-456C732C0D87}" dt="2024-01-18T15:40:07.945" v="2202"/>
          <ac:spMkLst>
            <pc:docMk/>
            <pc:sldMk cId="498387278" sldId="261"/>
            <ac:spMk id="9" creationId="{6B263FD5-2A01-FA51-0A95-D718DD2C9484}"/>
          </ac:spMkLst>
        </pc:spChg>
        <pc:spChg chg="add del mod modVis">
          <ac:chgData name="Merchant, Vinay K" userId="d7ed8cd2-8065-4ad3-9e81-35626bcf9c5c" providerId="ADAL" clId="{A17E44E4-2F98-4407-9852-456C732C0D87}" dt="2024-01-22T19:38:59.987" v="5146" actId="962"/>
          <ac:spMkLst>
            <pc:docMk/>
            <pc:sldMk cId="498387278" sldId="261"/>
            <ac:spMk id="10" creationId="{81F9DD30-F852-5370-6E88-ACE0BFADEAB8}"/>
          </ac:spMkLst>
        </pc:spChg>
        <pc:spChg chg="mod">
          <ac:chgData name="Merchant, Vinay K" userId="d7ed8cd2-8065-4ad3-9e81-35626bcf9c5c" providerId="ADAL" clId="{A17E44E4-2F98-4407-9852-456C732C0D87}" dt="2024-01-24T15:38:24.300" v="6132" actId="20577"/>
          <ac:spMkLst>
            <pc:docMk/>
            <pc:sldMk cId="498387278" sldId="261"/>
            <ac:spMk id="11" creationId="{62761E49-4239-4522-923A-921DBF66F1AB}"/>
          </ac:spMkLst>
        </pc:spChg>
        <pc:spChg chg="mod">
          <ac:chgData name="Merchant, Vinay K" userId="d7ed8cd2-8065-4ad3-9e81-35626bcf9c5c" providerId="ADAL" clId="{A17E44E4-2F98-4407-9852-456C732C0D87}" dt="2024-01-18T17:54:35.744" v="4970" actId="20577"/>
          <ac:spMkLst>
            <pc:docMk/>
            <pc:sldMk cId="498387278" sldId="261"/>
            <ac:spMk id="12" creationId="{7C92AA62-1AC4-421E-98E1-493677DAF98B}"/>
          </ac:spMkLst>
        </pc:spChg>
        <pc:spChg chg="add mod">
          <ac:chgData name="Merchant, Vinay K" userId="d7ed8cd2-8065-4ad3-9e81-35626bcf9c5c" providerId="ADAL" clId="{A17E44E4-2F98-4407-9852-456C732C0D87}" dt="2024-01-22T19:40:27.932" v="5185" actId="20577"/>
          <ac:spMkLst>
            <pc:docMk/>
            <pc:sldMk cId="498387278" sldId="261"/>
            <ac:spMk id="14" creationId="{A566554A-658E-8473-004F-1B0F75638030}"/>
          </ac:spMkLst>
        </pc:spChg>
        <pc:spChg chg="del mod">
          <ac:chgData name="Merchant, Vinay K" userId="d7ed8cd2-8065-4ad3-9e81-35626bcf9c5c" providerId="ADAL" clId="{A17E44E4-2F98-4407-9852-456C732C0D87}" dt="2024-01-18T15:46:40.184" v="2593" actId="478"/>
          <ac:spMkLst>
            <pc:docMk/>
            <pc:sldMk cId="498387278" sldId="261"/>
            <ac:spMk id="32" creationId="{E1816A95-08A4-4E30-AEBF-8F518E58933E}"/>
          </ac:spMkLst>
        </pc:spChg>
        <pc:graphicFrameChg chg="add mod ord modVis replST">
          <ac:chgData name="Merchant, Vinay K" userId="d7ed8cd2-8065-4ad3-9e81-35626bcf9c5c" providerId="ADAL" clId="{A17E44E4-2F98-4407-9852-456C732C0D87}" dt="2024-01-22T19:39:03.655" v="5151" actId="1076"/>
          <ac:graphicFrameMkLst>
            <pc:docMk/>
            <pc:sldMk cId="498387278" sldId="261"/>
            <ac:graphicFrameMk id="7" creationId="{6A7E1DA4-E2CD-9992-BFE2-251B193893EF}"/>
          </ac:graphicFrameMkLst>
        </pc:graphicFrameChg>
        <pc:picChg chg="del">
          <ac:chgData name="Merchant, Vinay K" userId="d7ed8cd2-8065-4ad3-9e81-35626bcf9c5c" providerId="ADAL" clId="{A17E44E4-2F98-4407-9852-456C732C0D87}" dt="2024-01-18T15:40:12.155" v="2205" actId="478"/>
          <ac:picMkLst>
            <pc:docMk/>
            <pc:sldMk cId="498387278" sldId="261"/>
            <ac:picMk id="6" creationId="{74476D93-CDE0-458A-91D6-301275E549C2}"/>
          </ac:picMkLst>
        </pc:picChg>
        <pc:picChg chg="add mod">
          <ac:chgData name="Merchant, Vinay K" userId="d7ed8cd2-8065-4ad3-9e81-35626bcf9c5c" providerId="ADAL" clId="{A17E44E4-2F98-4407-9852-456C732C0D87}" dt="2024-01-18T15:50:57.465" v="3114" actId="1076"/>
          <ac:picMkLst>
            <pc:docMk/>
            <pc:sldMk cId="498387278" sldId="261"/>
            <ac:picMk id="1026" creationId="{97748D81-C8BB-712A-E4BB-76D1B1026DD7}"/>
          </ac:picMkLst>
        </pc:picChg>
        <pc:cxnChg chg="add mod">
          <ac:chgData name="Merchant, Vinay K" userId="d7ed8cd2-8065-4ad3-9e81-35626bcf9c5c" providerId="ADAL" clId="{A17E44E4-2F98-4407-9852-456C732C0D87}" dt="2024-01-22T19:39:15.793" v="5154" actId="14100"/>
          <ac:cxnSpMkLst>
            <pc:docMk/>
            <pc:sldMk cId="498387278" sldId="261"/>
            <ac:cxnSpMk id="6" creationId="{8552BAA1-1F6C-D763-58F0-72685EC8D6C8}"/>
          </ac:cxnSpMkLst>
        </pc:cxnChg>
      </pc:sldChg>
      <pc:sldChg chg="addSp delSp modSp mod">
        <pc:chgData name="Merchant, Vinay K" userId="d7ed8cd2-8065-4ad3-9e81-35626bcf9c5c" providerId="ADAL" clId="{A17E44E4-2F98-4407-9852-456C732C0D87}" dt="2024-01-24T15:42:46.747" v="6187" actId="20577"/>
        <pc:sldMkLst>
          <pc:docMk/>
          <pc:sldMk cId="1888646507" sldId="262"/>
        </pc:sldMkLst>
        <pc:spChg chg="mod">
          <ac:chgData name="Merchant, Vinay K" userId="d7ed8cd2-8065-4ad3-9e81-35626bcf9c5c" providerId="ADAL" clId="{A17E44E4-2F98-4407-9852-456C732C0D87}" dt="2024-01-24T15:42:46.747" v="6187" actId="20577"/>
          <ac:spMkLst>
            <pc:docMk/>
            <pc:sldMk cId="1888646507" sldId="262"/>
            <ac:spMk id="2" creationId="{718853FE-A304-4F56-806E-4D9EA6296DA4}"/>
          </ac:spMkLst>
        </pc:spChg>
        <pc:spChg chg="mod">
          <ac:chgData name="Merchant, Vinay K" userId="d7ed8cd2-8065-4ad3-9e81-35626bcf9c5c" providerId="ADAL" clId="{A17E44E4-2F98-4407-9852-456C732C0D87}" dt="2024-01-18T15:50:43.411" v="3087" actId="948"/>
          <ac:spMkLst>
            <pc:docMk/>
            <pc:sldMk cId="1888646507" sldId="262"/>
            <ac:spMk id="3" creationId="{8E26F66C-8B72-421B-9AC6-13AA752E319B}"/>
          </ac:spMkLst>
        </pc:spChg>
        <pc:spChg chg="add del mod modVis">
          <ac:chgData name="Merchant, Vinay K" userId="d7ed8cd2-8065-4ad3-9e81-35626bcf9c5c" providerId="ADAL" clId="{A17E44E4-2F98-4407-9852-456C732C0D87}" dt="2024-01-18T15:50:40.675" v="3058"/>
          <ac:spMkLst>
            <pc:docMk/>
            <pc:sldMk cId="1888646507" sldId="262"/>
            <ac:spMk id="6" creationId="{4304C98B-0BD2-609E-3882-023C8422E083}"/>
          </ac:spMkLst>
        </pc:spChg>
        <pc:spChg chg="add del mod modVis">
          <ac:chgData name="Merchant, Vinay K" userId="d7ed8cd2-8065-4ad3-9e81-35626bcf9c5c" providerId="ADAL" clId="{A17E44E4-2F98-4407-9852-456C732C0D87}" dt="2024-01-18T15:50:43.441" v="3111"/>
          <ac:spMkLst>
            <pc:docMk/>
            <pc:sldMk cId="1888646507" sldId="262"/>
            <ac:spMk id="9" creationId="{A3784F8F-5937-824B-2BF7-564C21BDBC3A}"/>
          </ac:spMkLst>
        </pc:spChg>
        <pc:spChg chg="mod">
          <ac:chgData name="Merchant, Vinay K" userId="d7ed8cd2-8065-4ad3-9e81-35626bcf9c5c" providerId="ADAL" clId="{A17E44E4-2F98-4407-9852-456C732C0D87}" dt="2024-01-18T15:55:05.401" v="3466" actId="1076"/>
          <ac:spMkLst>
            <pc:docMk/>
            <pc:sldMk cId="1888646507" sldId="262"/>
            <ac:spMk id="20" creationId="{5B316799-F3B1-4987-9EC6-3FA05D962A1A}"/>
          </ac:spMkLst>
        </pc:spChg>
        <pc:graphicFrameChg chg="add mod ord modVis replST">
          <ac:chgData name="Merchant, Vinay K" userId="d7ed8cd2-8065-4ad3-9e81-35626bcf9c5c" providerId="ADAL" clId="{A17E44E4-2F98-4407-9852-456C732C0D87}" dt="2024-01-18T15:50:43.444" v="3113"/>
          <ac:graphicFrameMkLst>
            <pc:docMk/>
            <pc:sldMk cId="1888646507" sldId="262"/>
            <ac:graphicFrameMk id="7" creationId="{F60E826D-0922-0AF0-DE50-215DADF64A01}"/>
          </ac:graphicFrameMkLst>
        </pc:graphicFrameChg>
        <pc:picChg chg="del mod">
          <ac:chgData name="Merchant, Vinay K" userId="d7ed8cd2-8065-4ad3-9e81-35626bcf9c5c" providerId="ADAL" clId="{A17E44E4-2F98-4407-9852-456C732C0D87}" dt="2024-01-18T15:54:28.714" v="3455" actId="478"/>
          <ac:picMkLst>
            <pc:docMk/>
            <pc:sldMk cId="1888646507" sldId="262"/>
            <ac:picMk id="8" creationId="{70058476-93BB-4A1F-AEBC-B8204823978E}"/>
          </ac:picMkLst>
        </pc:picChg>
        <pc:picChg chg="add mod">
          <ac:chgData name="Merchant, Vinay K" userId="d7ed8cd2-8065-4ad3-9e81-35626bcf9c5c" providerId="ADAL" clId="{A17E44E4-2F98-4407-9852-456C732C0D87}" dt="2024-01-18T15:56:16.066" v="3471" actId="14100"/>
          <ac:picMkLst>
            <pc:docMk/>
            <pc:sldMk cId="1888646507" sldId="262"/>
            <ac:picMk id="11" creationId="{470C7C0F-C199-AFE3-2CD2-7E7B3E10F3FD}"/>
          </ac:picMkLst>
        </pc:picChg>
        <pc:picChg chg="del">
          <ac:chgData name="Merchant, Vinay K" userId="d7ed8cd2-8065-4ad3-9e81-35626bcf9c5c" providerId="ADAL" clId="{A17E44E4-2F98-4407-9852-456C732C0D87}" dt="2024-01-18T15:54:30.283" v="3456" actId="478"/>
          <ac:picMkLst>
            <pc:docMk/>
            <pc:sldMk cId="1888646507" sldId="262"/>
            <ac:picMk id="14" creationId="{B0B87648-178A-4A73-88D6-0AF32B70663C}"/>
          </ac:picMkLst>
        </pc:picChg>
      </pc:sldChg>
      <pc:sldChg chg="addSp delSp modSp mod">
        <pc:chgData name="Merchant, Vinay K" userId="d7ed8cd2-8065-4ad3-9e81-35626bcf9c5c" providerId="ADAL" clId="{A17E44E4-2F98-4407-9852-456C732C0D87}" dt="2024-01-22T19:45:57.387" v="5346" actId="20577"/>
        <pc:sldMkLst>
          <pc:docMk/>
          <pc:sldMk cId="605849152" sldId="263"/>
        </pc:sldMkLst>
        <pc:spChg chg="add mod">
          <ac:chgData name="Merchant, Vinay K" userId="d7ed8cd2-8065-4ad3-9e81-35626bcf9c5c" providerId="ADAL" clId="{A17E44E4-2F98-4407-9852-456C732C0D87}" dt="2024-01-18T16:07:45.332" v="4550" actId="1076"/>
          <ac:spMkLst>
            <pc:docMk/>
            <pc:sldMk cId="605849152" sldId="263"/>
            <ac:spMk id="2" creationId="{A1CADA9E-DB54-DF9F-1A5B-A6AF6D12F92D}"/>
          </ac:spMkLst>
        </pc:spChg>
        <pc:spChg chg="mod">
          <ac:chgData name="Merchant, Vinay K" userId="d7ed8cd2-8065-4ad3-9e81-35626bcf9c5c" providerId="ADAL" clId="{A17E44E4-2F98-4407-9852-456C732C0D87}" dt="2024-01-22T19:45:23.461" v="5294" actId="20577"/>
          <ac:spMkLst>
            <pc:docMk/>
            <pc:sldMk cId="605849152" sldId="263"/>
            <ac:spMk id="39" creationId="{5D9B697B-F389-4CDB-8CC7-C9BDA46B1BF2}"/>
          </ac:spMkLst>
        </pc:spChg>
        <pc:spChg chg="mod">
          <ac:chgData name="Merchant, Vinay K" userId="d7ed8cd2-8065-4ad3-9e81-35626bcf9c5c" providerId="ADAL" clId="{A17E44E4-2F98-4407-9852-456C732C0D87}" dt="2024-01-22T19:45:57.387" v="5346" actId="20577"/>
          <ac:spMkLst>
            <pc:docMk/>
            <pc:sldMk cId="605849152" sldId="263"/>
            <ac:spMk id="40" creationId="{960515B9-A527-4BE1-B740-46B16044052C}"/>
          </ac:spMkLst>
        </pc:spChg>
        <pc:picChg chg="mod">
          <ac:chgData name="Merchant, Vinay K" userId="d7ed8cd2-8065-4ad3-9e81-35626bcf9c5c" providerId="ADAL" clId="{A17E44E4-2F98-4407-9852-456C732C0D87}" dt="2024-01-18T16:08:37.496" v="4564" actId="1076"/>
          <ac:picMkLst>
            <pc:docMk/>
            <pc:sldMk cId="605849152" sldId="263"/>
            <ac:picMk id="6" creationId="{10B9DF0E-F852-414C-8BEF-8E79F4B0F2FD}"/>
          </ac:picMkLst>
        </pc:picChg>
        <pc:picChg chg="mod">
          <ac:chgData name="Merchant, Vinay K" userId="d7ed8cd2-8065-4ad3-9e81-35626bcf9c5c" providerId="ADAL" clId="{A17E44E4-2F98-4407-9852-456C732C0D87}" dt="2024-01-18T16:08:58.430" v="4589" actId="1076"/>
          <ac:picMkLst>
            <pc:docMk/>
            <pc:sldMk cId="605849152" sldId="263"/>
            <ac:picMk id="8" creationId="{B757EB20-0F87-4E28-BA0D-CC95BC5A88D8}"/>
          </ac:picMkLst>
        </pc:picChg>
        <pc:picChg chg="add del">
          <ac:chgData name="Merchant, Vinay K" userId="d7ed8cd2-8065-4ad3-9e81-35626bcf9c5c" providerId="ADAL" clId="{A17E44E4-2F98-4407-9852-456C732C0D87}" dt="2024-01-18T16:07:49.092" v="4553" actId="478"/>
          <ac:picMkLst>
            <pc:docMk/>
            <pc:sldMk cId="605849152" sldId="263"/>
            <ac:picMk id="9" creationId="{E204EB85-7D81-CDD7-480A-42BDFAC72FAE}"/>
          </ac:picMkLst>
        </pc:picChg>
        <pc:picChg chg="add mod">
          <ac:chgData name="Merchant, Vinay K" userId="d7ed8cd2-8065-4ad3-9e81-35626bcf9c5c" providerId="ADAL" clId="{A17E44E4-2F98-4407-9852-456C732C0D87}" dt="2024-01-18T16:09:03.919" v="4590" actId="1076"/>
          <ac:picMkLst>
            <pc:docMk/>
            <pc:sldMk cId="605849152" sldId="263"/>
            <ac:picMk id="11" creationId="{AF51AC66-CABB-1B6E-E39D-8B82D50EB612}"/>
          </ac:picMkLst>
        </pc:picChg>
        <pc:picChg chg="mod">
          <ac:chgData name="Merchant, Vinay K" userId="d7ed8cd2-8065-4ad3-9e81-35626bcf9c5c" providerId="ADAL" clId="{A17E44E4-2F98-4407-9852-456C732C0D87}" dt="2024-01-18T16:08:39.332" v="4565" actId="1076"/>
          <ac:picMkLst>
            <pc:docMk/>
            <pc:sldMk cId="605849152" sldId="263"/>
            <ac:picMk id="14" creationId="{1185C9CB-8B28-4258-803F-7B6A5B26973F}"/>
          </ac:picMkLst>
        </pc:picChg>
        <pc:picChg chg="mod">
          <ac:chgData name="Merchant, Vinay K" userId="d7ed8cd2-8065-4ad3-9e81-35626bcf9c5c" providerId="ADAL" clId="{A17E44E4-2F98-4407-9852-456C732C0D87}" dt="2024-01-18T16:08:56.502" v="4588" actId="1076"/>
          <ac:picMkLst>
            <pc:docMk/>
            <pc:sldMk cId="605849152" sldId="263"/>
            <ac:picMk id="16" creationId="{3CCFA88B-A55E-4393-A2B4-9E026E8D2E5C}"/>
          </ac:picMkLst>
        </pc:picChg>
      </pc:sldChg>
      <pc:sldChg chg="addSp delSp modSp mod">
        <pc:chgData name="Merchant, Vinay K" userId="d7ed8cd2-8065-4ad3-9e81-35626bcf9c5c" providerId="ADAL" clId="{A17E44E4-2F98-4407-9852-456C732C0D87}" dt="2024-01-22T19:55:13.955" v="5943" actId="1076"/>
        <pc:sldMkLst>
          <pc:docMk/>
          <pc:sldMk cId="854759833" sldId="264"/>
        </pc:sldMkLst>
        <pc:spChg chg="add del mod modVis">
          <ac:chgData name="Merchant, Vinay K" userId="d7ed8cd2-8065-4ad3-9e81-35626bcf9c5c" providerId="ADAL" clId="{A17E44E4-2F98-4407-9852-456C732C0D87}" dt="2024-01-18T16:10:34.030" v="4819"/>
          <ac:spMkLst>
            <pc:docMk/>
            <pc:sldMk cId="854759833" sldId="264"/>
            <ac:spMk id="2" creationId="{934CAF63-F469-B1A2-59F1-FC11C74D1641}"/>
          </ac:spMkLst>
        </pc:spChg>
        <pc:spChg chg="mod">
          <ac:chgData name="Merchant, Vinay K" userId="d7ed8cd2-8065-4ad3-9e81-35626bcf9c5c" providerId="ADAL" clId="{A17E44E4-2F98-4407-9852-456C732C0D87}" dt="2024-01-22T19:50:53.374" v="5555" actId="948"/>
          <ac:spMkLst>
            <pc:docMk/>
            <pc:sldMk cId="854759833" sldId="264"/>
            <ac:spMk id="3" creationId="{8E26F66C-8B72-421B-9AC6-13AA752E319B}"/>
          </ac:spMkLst>
        </pc:spChg>
        <pc:spChg chg="add del mod">
          <ac:chgData name="Merchant, Vinay K" userId="d7ed8cd2-8065-4ad3-9e81-35626bcf9c5c" providerId="ADAL" clId="{A17E44E4-2F98-4407-9852-456C732C0D87}" dt="2024-01-22T19:50:37.122" v="5546" actId="478"/>
          <ac:spMkLst>
            <pc:docMk/>
            <pc:sldMk cId="854759833" sldId="264"/>
            <ac:spMk id="7" creationId="{10D648A9-5B83-D258-AE40-63D5CABE2E7D}"/>
          </ac:spMkLst>
        </pc:spChg>
        <pc:spChg chg="add del mod modVis">
          <ac:chgData name="Merchant, Vinay K" userId="d7ed8cd2-8065-4ad3-9e81-35626bcf9c5c" providerId="ADAL" clId="{A17E44E4-2F98-4407-9852-456C732C0D87}" dt="2024-01-22T19:50:53.401" v="5579"/>
          <ac:spMkLst>
            <pc:docMk/>
            <pc:sldMk cId="854759833" sldId="264"/>
            <ac:spMk id="10" creationId="{D37C3D10-0BAD-3F63-7498-2D1FF86B55D2}"/>
          </ac:spMkLst>
        </pc:spChg>
        <pc:spChg chg="mod">
          <ac:chgData name="Merchant, Vinay K" userId="d7ed8cd2-8065-4ad3-9e81-35626bcf9c5c" providerId="ADAL" clId="{A17E44E4-2F98-4407-9852-456C732C0D87}" dt="2024-01-22T19:50:51.190" v="5553" actId="1076"/>
          <ac:spMkLst>
            <pc:docMk/>
            <pc:sldMk cId="854759833" sldId="264"/>
            <ac:spMk id="21" creationId="{82F71889-EA1F-4504-AFBE-A6FBD2012214}"/>
          </ac:spMkLst>
        </pc:spChg>
        <pc:spChg chg="mod">
          <ac:chgData name="Merchant, Vinay K" userId="d7ed8cd2-8065-4ad3-9e81-35626bcf9c5c" providerId="ADAL" clId="{A17E44E4-2F98-4407-9852-456C732C0D87}" dt="2024-01-22T19:51:01.056" v="5584" actId="1076"/>
          <ac:spMkLst>
            <pc:docMk/>
            <pc:sldMk cId="854759833" sldId="264"/>
            <ac:spMk id="71" creationId="{319EA142-7428-4DC8-A5D2-D39076F1B9F4}"/>
          </ac:spMkLst>
        </pc:spChg>
        <pc:spChg chg="mod">
          <ac:chgData name="Merchant, Vinay K" userId="d7ed8cd2-8065-4ad3-9e81-35626bcf9c5c" providerId="ADAL" clId="{A17E44E4-2F98-4407-9852-456C732C0D87}" dt="2024-01-22T19:54:21.890" v="5940" actId="2710"/>
          <ac:spMkLst>
            <pc:docMk/>
            <pc:sldMk cId="854759833" sldId="264"/>
            <ac:spMk id="73" creationId="{C25728E7-0914-4942-8CB0-648A21406F11}"/>
          </ac:spMkLst>
        </pc:spChg>
        <pc:graphicFrameChg chg="add mod ord modVis replST">
          <ac:chgData name="Merchant, Vinay K" userId="d7ed8cd2-8065-4ad3-9e81-35626bcf9c5c" providerId="ADAL" clId="{A17E44E4-2F98-4407-9852-456C732C0D87}" dt="2024-01-22T19:50:53.404" v="5581"/>
          <ac:graphicFrameMkLst>
            <pc:docMk/>
            <pc:sldMk cId="854759833" sldId="264"/>
            <ac:graphicFrameMk id="6" creationId="{3D3F36FE-C007-6558-2042-96EAF3BA5A5C}"/>
          </ac:graphicFrameMkLst>
        </pc:graphicFrameChg>
        <pc:picChg chg="add del mod">
          <ac:chgData name="Merchant, Vinay K" userId="d7ed8cd2-8065-4ad3-9e81-35626bcf9c5c" providerId="ADAL" clId="{A17E44E4-2F98-4407-9852-456C732C0D87}" dt="2024-01-22T19:49:26.258" v="5537" actId="478"/>
          <ac:picMkLst>
            <pc:docMk/>
            <pc:sldMk cId="854759833" sldId="264"/>
            <ac:picMk id="2" creationId="{95C595CF-BD53-E41C-3784-0AB66FEB3F5A}"/>
          </ac:picMkLst>
        </pc:picChg>
        <pc:picChg chg="del">
          <ac:chgData name="Merchant, Vinay K" userId="d7ed8cd2-8065-4ad3-9e81-35626bcf9c5c" providerId="ADAL" clId="{A17E44E4-2F98-4407-9852-456C732C0D87}" dt="2024-01-18T16:11:21.950" v="4940" actId="478"/>
          <ac:picMkLst>
            <pc:docMk/>
            <pc:sldMk cId="854759833" sldId="264"/>
            <ac:picMk id="8" creationId="{50DC34C8-9346-4CDA-9FE8-2B2B09C62416}"/>
          </ac:picMkLst>
        </pc:picChg>
        <pc:picChg chg="add mod">
          <ac:chgData name="Merchant, Vinay K" userId="d7ed8cd2-8065-4ad3-9e81-35626bcf9c5c" providerId="ADAL" clId="{A17E44E4-2F98-4407-9852-456C732C0D87}" dt="2024-01-22T19:55:13.955" v="5943" actId="1076"/>
          <ac:picMkLst>
            <pc:docMk/>
            <pc:sldMk cId="854759833" sldId="264"/>
            <ac:picMk id="9" creationId="{8D5C4BA7-A01F-6733-299E-1C343A6BDC4B}"/>
          </ac:picMkLst>
        </pc:picChg>
        <pc:picChg chg="add del">
          <ac:chgData name="Merchant, Vinay K" userId="d7ed8cd2-8065-4ad3-9e81-35626bcf9c5c" providerId="ADAL" clId="{A17E44E4-2F98-4407-9852-456C732C0D87}" dt="2024-01-22T19:49:22.009" v="5534"/>
          <ac:picMkLst>
            <pc:docMk/>
            <pc:sldMk cId="854759833" sldId="264"/>
            <ac:picMk id="1026" creationId="{1EC4FEE8-ACAC-12EB-61B0-8EA9FAEB1214}"/>
          </ac:picMkLst>
        </pc:picChg>
      </pc:sldChg>
      <pc:sldChg chg="modSp mod">
        <pc:chgData name="Merchant, Vinay K" userId="d7ed8cd2-8065-4ad3-9e81-35626bcf9c5c" providerId="ADAL" clId="{A17E44E4-2F98-4407-9852-456C732C0D87}" dt="2024-01-24T15:36:03.584" v="6129"/>
        <pc:sldMkLst>
          <pc:docMk/>
          <pc:sldMk cId="1369770093" sldId="2146846301"/>
        </pc:sldMkLst>
        <pc:spChg chg="mod">
          <ac:chgData name="Merchant, Vinay K" userId="d7ed8cd2-8065-4ad3-9e81-35626bcf9c5c" providerId="ADAL" clId="{A17E44E4-2F98-4407-9852-456C732C0D87}" dt="2024-01-22T19:59:44.034" v="5945" actId="20577"/>
          <ac:spMkLst>
            <pc:docMk/>
            <pc:sldMk cId="1369770093" sldId="2146846301"/>
            <ac:spMk id="24" creationId="{857FC011-03A6-4DF8-9218-A74B3F61C1A6}"/>
          </ac:spMkLst>
        </pc:spChg>
        <pc:graphicFrameChg chg="mod">
          <ac:chgData name="Merchant, Vinay K" userId="d7ed8cd2-8065-4ad3-9e81-35626bcf9c5c" providerId="ADAL" clId="{A17E44E4-2F98-4407-9852-456C732C0D87}" dt="2024-01-24T15:36:03.584" v="6129"/>
          <ac:graphicFrameMkLst>
            <pc:docMk/>
            <pc:sldMk cId="1369770093" sldId="2146846301"/>
            <ac:graphicFrameMk id="16" creationId="{6F24E904-61D1-49B1-A696-DA348D5C7D6A}"/>
          </ac:graphicFrameMkLst>
        </pc:graphicFrameChg>
      </pc:sldChg>
    </pc:docChg>
  </pc:docChgLst>
</pc:chgInfo>
</file>

<file path=ppt/diagrams/_rels/data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svg"/><Relationship Id="rId1" Type="http://schemas.openxmlformats.org/officeDocument/2006/relationships/image" Target="../media/image5.png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4.svg"/><Relationship Id="rId4" Type="http://schemas.openxmlformats.org/officeDocument/2006/relationships/image" Target="../media/image8.svg"/><Relationship Id="rId9" Type="http://schemas.openxmlformats.org/officeDocument/2006/relationships/image" Target="../media/image13.png"/></Relationships>
</file>

<file path=ppt/diagrams/_rels/drawing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2.svg"/><Relationship Id="rId3" Type="http://schemas.openxmlformats.org/officeDocument/2006/relationships/image" Target="../media/image7.png"/><Relationship Id="rId7" Type="http://schemas.openxmlformats.org/officeDocument/2006/relationships/image" Target="../media/image11.png"/><Relationship Id="rId2" Type="http://schemas.openxmlformats.org/officeDocument/2006/relationships/image" Target="../media/image6.svg"/><Relationship Id="rId1" Type="http://schemas.openxmlformats.org/officeDocument/2006/relationships/image" Target="../media/image5.png"/><Relationship Id="rId6" Type="http://schemas.openxmlformats.org/officeDocument/2006/relationships/image" Target="../media/image10.svg"/><Relationship Id="rId5" Type="http://schemas.openxmlformats.org/officeDocument/2006/relationships/image" Target="../media/image9.png"/><Relationship Id="rId10" Type="http://schemas.openxmlformats.org/officeDocument/2006/relationships/image" Target="../media/image14.svg"/><Relationship Id="rId4" Type="http://schemas.openxmlformats.org/officeDocument/2006/relationships/image" Target="../media/image8.svg"/><Relationship Id="rId9" Type="http://schemas.openxmlformats.org/officeDocument/2006/relationships/image" Target="../media/image13.png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EF7ED38A-7187-487A-95D1-5BB4F3DA9028}" type="doc">
      <dgm:prSet loTypeId="urn:microsoft.com/office/officeart/2018/2/layout/IconVerticalSolidList" loCatId="icon" qsTypeId="urn:microsoft.com/office/officeart/2005/8/quickstyle/simple5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B9D5EDEE-2F81-4F8C-9B53-F9FC920378AF}">
      <dgm:prSet custT="1"/>
      <dgm:spPr>
        <a:gradFill flip="none" rotWithShape="1">
          <a:gsLst>
            <a:gs pos="0">
              <a:schemeClr val="bg2"/>
            </a:gs>
            <a:gs pos="74000">
              <a:schemeClr val="bg2">
                <a:lumMod val="90000"/>
              </a:schemeClr>
            </a:gs>
            <a:gs pos="83000">
              <a:schemeClr val="bg2">
                <a:lumMod val="90000"/>
              </a:schemeClr>
            </a:gs>
            <a:gs pos="100000">
              <a:schemeClr val="bg1">
                <a:lumMod val="75000"/>
              </a:schemeClr>
            </a:gs>
          </a:gsLst>
          <a:lin ang="5400000" scaled="1"/>
          <a:tileRect/>
        </a:gradFill>
      </dgm:spPr>
      <dgm:t>
        <a:bodyPr/>
        <a:lstStyle/>
        <a:p>
          <a:pPr>
            <a:lnSpc>
              <a:spcPct val="100000"/>
            </a:lnSpc>
          </a:pPr>
          <a:r>
            <a:rPr lang="en-US" sz="3200" b="1" dirty="0">
              <a:solidFill>
                <a:schemeClr val="tx1"/>
              </a:solidFill>
            </a:rPr>
            <a:t>About Vinay Merchant </a:t>
          </a:r>
        </a:p>
      </dgm:t>
    </dgm:pt>
    <dgm:pt modelId="{EDB2CB9F-1ED9-424B-8DEC-FE80B43FEFDB}" type="parTrans" cxnId="{279F3239-D9D4-4156-8DDE-8B061A3E61CE}">
      <dgm:prSet/>
      <dgm:spPr/>
      <dgm:t>
        <a:bodyPr/>
        <a:lstStyle/>
        <a:p>
          <a:endParaRPr lang="en-US"/>
        </a:p>
      </dgm:t>
    </dgm:pt>
    <dgm:pt modelId="{6D1EE449-BF8C-43A6-9122-2C84B83697FB}" type="sibTrans" cxnId="{279F3239-D9D4-4156-8DDE-8B061A3E61CE}">
      <dgm:prSet/>
      <dgm:spPr/>
      <dgm:t>
        <a:bodyPr/>
        <a:lstStyle/>
        <a:p>
          <a:endParaRPr lang="en-US"/>
        </a:p>
      </dgm:t>
    </dgm:pt>
    <dgm:pt modelId="{46C1F462-222A-43AF-B8D4-B539A0531874}">
      <dgm:prSet custT="1"/>
      <dgm:spPr>
        <a:gradFill flip="none" rotWithShape="1">
          <a:gsLst>
            <a:gs pos="0">
              <a:schemeClr val="bg2"/>
            </a:gs>
            <a:gs pos="74000">
              <a:schemeClr val="bg2">
                <a:lumMod val="90000"/>
              </a:schemeClr>
            </a:gs>
            <a:gs pos="83000">
              <a:schemeClr val="bg2">
                <a:lumMod val="90000"/>
              </a:schemeClr>
            </a:gs>
            <a:gs pos="100000">
              <a:schemeClr val="bg1">
                <a:lumMod val="75000"/>
              </a:schemeClr>
            </a:gs>
          </a:gsLst>
          <a:lin ang="5400000" scaled="1"/>
          <a:tileRect/>
        </a:gradFill>
      </dgm:spPr>
      <dgm:t>
        <a:bodyPr/>
        <a:lstStyle/>
        <a:p>
          <a:pPr>
            <a:lnSpc>
              <a:spcPct val="100000"/>
            </a:lnSpc>
          </a:pPr>
          <a:r>
            <a:rPr lang="en-US" sz="3200" b="1" dirty="0">
              <a:solidFill>
                <a:schemeClr val="tx1"/>
              </a:solidFill>
            </a:rPr>
            <a:t>One Xcel Energy Way: Continued</a:t>
          </a:r>
        </a:p>
      </dgm:t>
    </dgm:pt>
    <dgm:pt modelId="{62687524-80CE-496E-BE03-F73472BADF67}" type="parTrans" cxnId="{A284A45A-B7BD-4FD4-B63D-53BE9B5CA7E7}">
      <dgm:prSet/>
      <dgm:spPr/>
      <dgm:t>
        <a:bodyPr/>
        <a:lstStyle/>
        <a:p>
          <a:endParaRPr lang="en-US"/>
        </a:p>
      </dgm:t>
    </dgm:pt>
    <dgm:pt modelId="{8D9CC3CA-9206-4923-AE6C-7F982D801287}" type="sibTrans" cxnId="{A284A45A-B7BD-4FD4-B63D-53BE9B5CA7E7}">
      <dgm:prSet/>
      <dgm:spPr/>
      <dgm:t>
        <a:bodyPr/>
        <a:lstStyle/>
        <a:p>
          <a:endParaRPr lang="en-US"/>
        </a:p>
      </dgm:t>
    </dgm:pt>
    <dgm:pt modelId="{A613E2B9-1B3D-4D4E-B492-BA94DE2D268D}">
      <dgm:prSet custT="1"/>
      <dgm:spPr>
        <a:gradFill flip="none" rotWithShape="1">
          <a:gsLst>
            <a:gs pos="0">
              <a:schemeClr val="bg2"/>
            </a:gs>
            <a:gs pos="74000">
              <a:schemeClr val="bg2">
                <a:lumMod val="90000"/>
              </a:schemeClr>
            </a:gs>
            <a:gs pos="83000">
              <a:schemeClr val="bg2">
                <a:lumMod val="90000"/>
              </a:schemeClr>
            </a:gs>
            <a:gs pos="100000">
              <a:schemeClr val="bg1">
                <a:lumMod val="75000"/>
              </a:schemeClr>
            </a:gs>
          </a:gsLst>
          <a:lin ang="5400000" scaled="1"/>
          <a:tileRect/>
        </a:gradFill>
      </dgm:spPr>
      <dgm:t>
        <a:bodyPr/>
        <a:lstStyle/>
        <a:p>
          <a:pPr>
            <a:lnSpc>
              <a:spcPct val="100000"/>
            </a:lnSpc>
          </a:pPr>
          <a:r>
            <a:rPr lang="en-US" sz="3200" b="1" dirty="0">
              <a:solidFill>
                <a:schemeClr val="tx1"/>
              </a:solidFill>
            </a:rPr>
            <a:t>What is a Rally Room? </a:t>
          </a:r>
        </a:p>
      </dgm:t>
    </dgm:pt>
    <dgm:pt modelId="{B243A7CB-C2FF-47DF-96CD-F79762FEF491}" type="parTrans" cxnId="{3BDDDE51-DF62-4603-9BA1-E6577D3998F8}">
      <dgm:prSet/>
      <dgm:spPr/>
      <dgm:t>
        <a:bodyPr/>
        <a:lstStyle/>
        <a:p>
          <a:endParaRPr lang="en-US"/>
        </a:p>
      </dgm:t>
    </dgm:pt>
    <dgm:pt modelId="{5D311393-6DF7-43E3-ABB6-E238FF6533DC}" type="sibTrans" cxnId="{3BDDDE51-DF62-4603-9BA1-E6577D3998F8}">
      <dgm:prSet/>
      <dgm:spPr/>
      <dgm:t>
        <a:bodyPr/>
        <a:lstStyle/>
        <a:p>
          <a:endParaRPr lang="en-US"/>
        </a:p>
      </dgm:t>
    </dgm:pt>
    <dgm:pt modelId="{2DCAA09A-BCBF-4FCD-A2CD-E70A31F16C36}">
      <dgm:prSet custT="1"/>
      <dgm:spPr>
        <a:gradFill flip="none" rotWithShape="1">
          <a:gsLst>
            <a:gs pos="0">
              <a:schemeClr val="bg2"/>
            </a:gs>
            <a:gs pos="74000">
              <a:schemeClr val="bg2">
                <a:lumMod val="90000"/>
              </a:schemeClr>
            </a:gs>
            <a:gs pos="83000">
              <a:schemeClr val="bg2">
                <a:lumMod val="90000"/>
              </a:schemeClr>
            </a:gs>
            <a:gs pos="100000">
              <a:schemeClr val="bg1">
                <a:lumMod val="75000"/>
              </a:schemeClr>
            </a:gs>
          </a:gsLst>
          <a:lin ang="5400000" scaled="1"/>
          <a:tileRect/>
        </a:gradFill>
      </dgm:spPr>
      <dgm:t>
        <a:bodyPr/>
        <a:lstStyle/>
        <a:p>
          <a:pPr>
            <a:lnSpc>
              <a:spcPct val="100000"/>
            </a:lnSpc>
          </a:pPr>
          <a:r>
            <a:rPr lang="en-US" sz="3200" b="1" dirty="0">
              <a:solidFill>
                <a:schemeClr val="tx1"/>
              </a:solidFill>
            </a:rPr>
            <a:t>Next Rotation … and Beyond</a:t>
          </a:r>
        </a:p>
      </dgm:t>
    </dgm:pt>
    <dgm:pt modelId="{2BAC7478-9DA5-41A2-A5ED-FC88C4D16EB3}" type="parTrans" cxnId="{3B30CAFD-F9F0-472D-BF26-AD81B1563FB9}">
      <dgm:prSet/>
      <dgm:spPr/>
      <dgm:t>
        <a:bodyPr/>
        <a:lstStyle/>
        <a:p>
          <a:endParaRPr lang="en-US"/>
        </a:p>
      </dgm:t>
    </dgm:pt>
    <dgm:pt modelId="{D4F7B2D2-1170-4A42-8251-79560291CA6C}" type="sibTrans" cxnId="{3B30CAFD-F9F0-472D-BF26-AD81B1563FB9}">
      <dgm:prSet/>
      <dgm:spPr/>
      <dgm:t>
        <a:bodyPr/>
        <a:lstStyle/>
        <a:p>
          <a:endParaRPr lang="en-US"/>
        </a:p>
      </dgm:t>
    </dgm:pt>
    <dgm:pt modelId="{25F5ACC8-A055-4EDC-8C2F-0F4690CB78F6}">
      <dgm:prSet custT="1"/>
      <dgm:spPr>
        <a:gradFill flip="none" rotWithShape="1">
          <a:gsLst>
            <a:gs pos="0">
              <a:schemeClr val="bg2"/>
            </a:gs>
            <a:gs pos="74000">
              <a:schemeClr val="bg2">
                <a:lumMod val="90000"/>
              </a:schemeClr>
            </a:gs>
            <a:gs pos="83000">
              <a:schemeClr val="bg2">
                <a:lumMod val="90000"/>
              </a:schemeClr>
            </a:gs>
            <a:gs pos="100000">
              <a:schemeClr val="bg1">
                <a:lumMod val="75000"/>
              </a:schemeClr>
            </a:gs>
          </a:gsLst>
          <a:lin ang="5400000" scaled="1"/>
          <a:tileRect/>
        </a:gradFill>
      </dgm:spPr>
      <dgm:t>
        <a:bodyPr/>
        <a:lstStyle/>
        <a:p>
          <a:pPr>
            <a:lnSpc>
              <a:spcPct val="100000"/>
            </a:lnSpc>
          </a:pPr>
          <a:r>
            <a:rPr lang="en-US" sz="3200" b="1" dirty="0">
              <a:solidFill>
                <a:schemeClr val="tx1"/>
              </a:solidFill>
            </a:rPr>
            <a:t>Overall Impact &amp; Takeaways</a:t>
          </a:r>
        </a:p>
      </dgm:t>
    </dgm:pt>
    <dgm:pt modelId="{B23C3EEB-6A04-456C-83D8-222ED4E649EE}" type="sibTrans" cxnId="{E7842055-70C7-4AC1-9D0F-85595337F99C}">
      <dgm:prSet/>
      <dgm:spPr/>
      <dgm:t>
        <a:bodyPr/>
        <a:lstStyle/>
        <a:p>
          <a:endParaRPr lang="en-US"/>
        </a:p>
      </dgm:t>
    </dgm:pt>
    <dgm:pt modelId="{8CAF3B3E-4FFD-4F67-AEF5-22AB028DEE79}" type="parTrans" cxnId="{E7842055-70C7-4AC1-9D0F-85595337F99C}">
      <dgm:prSet/>
      <dgm:spPr/>
      <dgm:t>
        <a:bodyPr/>
        <a:lstStyle/>
        <a:p>
          <a:endParaRPr lang="en-US"/>
        </a:p>
      </dgm:t>
    </dgm:pt>
    <dgm:pt modelId="{67747C05-E3FC-456F-AA78-302A9EE4B608}" type="pres">
      <dgm:prSet presAssocID="{EF7ED38A-7187-487A-95D1-5BB4F3DA9028}" presName="root" presStyleCnt="0">
        <dgm:presLayoutVars>
          <dgm:dir/>
          <dgm:resizeHandles val="exact"/>
        </dgm:presLayoutVars>
      </dgm:prSet>
      <dgm:spPr/>
    </dgm:pt>
    <dgm:pt modelId="{2BB5C0D5-3827-4A71-9295-DEA86D29BED8}" type="pres">
      <dgm:prSet presAssocID="{B9D5EDEE-2F81-4F8C-9B53-F9FC920378AF}" presName="compNode" presStyleCnt="0"/>
      <dgm:spPr/>
    </dgm:pt>
    <dgm:pt modelId="{32A6327B-5D08-4DF6-AFF7-6A71B81838DA}" type="pres">
      <dgm:prSet presAssocID="{B9D5EDEE-2F81-4F8C-9B53-F9FC920378AF}" presName="bgRect" presStyleLbl="bgShp" presStyleIdx="0" presStyleCnt="5"/>
      <dgm:spPr>
        <a:solidFill>
          <a:srgbClr val="FF0000">
            <a:alpha val="50000"/>
          </a:srgbClr>
        </a:solidFill>
      </dgm:spPr>
    </dgm:pt>
    <dgm:pt modelId="{98369B54-038E-4128-A0EC-6F501EEC6ADF}" type="pres">
      <dgm:prSet presAssocID="{B9D5EDEE-2F81-4F8C-9B53-F9FC920378AF}" presName="iconRect" presStyleLbl="node1" presStyleIdx="0" presStyleCnt="5" custScaleX="187072" custScaleY="187072" custLinFactNeighborX="36" custLinFactNeighborY="7507"/>
      <dgm:spPr>
        <a:blipFill>
          <a:blip xmlns:r="http://schemas.openxmlformats.org/officeDocument/2006/relationships" r:embed="rId1">
            <a:biLevel thresh="25000"/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User with solid fill"/>
        </a:ext>
      </dgm:extLst>
    </dgm:pt>
    <dgm:pt modelId="{2DD851B8-02F8-424C-9268-79DC561F6C16}" type="pres">
      <dgm:prSet presAssocID="{B9D5EDEE-2F81-4F8C-9B53-F9FC920378AF}" presName="spaceRect" presStyleCnt="0"/>
      <dgm:spPr/>
    </dgm:pt>
    <dgm:pt modelId="{9D12FB29-48E9-4C41-A24C-FE18FD7A5E52}" type="pres">
      <dgm:prSet presAssocID="{B9D5EDEE-2F81-4F8C-9B53-F9FC920378AF}" presName="parTx" presStyleLbl="revTx" presStyleIdx="0" presStyleCnt="5" custLinFactNeighborY="-505">
        <dgm:presLayoutVars>
          <dgm:chMax val="0"/>
          <dgm:chPref val="0"/>
        </dgm:presLayoutVars>
      </dgm:prSet>
      <dgm:spPr/>
    </dgm:pt>
    <dgm:pt modelId="{DC1FCC6E-059C-4D05-9BA1-5B7153920839}" type="pres">
      <dgm:prSet presAssocID="{6D1EE449-BF8C-43A6-9122-2C84B83697FB}" presName="sibTrans" presStyleCnt="0"/>
      <dgm:spPr/>
    </dgm:pt>
    <dgm:pt modelId="{08414F23-0545-4FF6-9542-FD25B9C2E495}" type="pres">
      <dgm:prSet presAssocID="{46C1F462-222A-43AF-B8D4-B539A0531874}" presName="compNode" presStyleCnt="0"/>
      <dgm:spPr/>
    </dgm:pt>
    <dgm:pt modelId="{8B0AA4A8-1C45-42C4-B1F8-B707CDABA238}" type="pres">
      <dgm:prSet presAssocID="{46C1F462-222A-43AF-B8D4-B539A0531874}" presName="bgRect" presStyleLbl="bgShp" presStyleIdx="1" presStyleCnt="5"/>
      <dgm:spPr>
        <a:solidFill>
          <a:srgbClr val="FF0000">
            <a:alpha val="50000"/>
          </a:srgbClr>
        </a:solidFill>
      </dgm:spPr>
    </dgm:pt>
    <dgm:pt modelId="{06CBB588-E8CA-4595-9E79-C7507BDACBE9}" type="pres">
      <dgm:prSet presAssocID="{46C1F462-222A-43AF-B8D4-B539A0531874}" presName="iconRect" presStyleLbl="node1" presStyleIdx="1" presStyleCnt="5" custScaleX="175109" custScaleY="175109"/>
      <dgm:spPr>
        <a:blipFill>
          <a:blip xmlns:r="http://schemas.openxmlformats.org/officeDocument/2006/relationships" r:embed="rId3">
            <a:biLevel thresh="25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</dgm:spPr>
      <dgm:extLst>
        <a:ext uri="{E40237B7-FDA0-4F09-8148-C483321AD2D9}">
          <dgm14:cNvPr xmlns:dgm14="http://schemas.microsoft.com/office/drawing/2010/diagram" id="0" name="" descr="Fluorescent Light Bulb with solid fill"/>
        </a:ext>
      </dgm:extLst>
    </dgm:pt>
    <dgm:pt modelId="{159BB3FE-F931-4BE7-B247-1B0898023650}" type="pres">
      <dgm:prSet presAssocID="{46C1F462-222A-43AF-B8D4-B539A0531874}" presName="spaceRect" presStyleCnt="0"/>
      <dgm:spPr/>
    </dgm:pt>
    <dgm:pt modelId="{5ED84D90-01BC-46BE-BDF8-89D07055E902}" type="pres">
      <dgm:prSet presAssocID="{46C1F462-222A-43AF-B8D4-B539A0531874}" presName="parTx" presStyleLbl="revTx" presStyleIdx="1" presStyleCnt="5">
        <dgm:presLayoutVars>
          <dgm:chMax val="0"/>
          <dgm:chPref val="0"/>
        </dgm:presLayoutVars>
      </dgm:prSet>
      <dgm:spPr/>
    </dgm:pt>
    <dgm:pt modelId="{C6646D90-50B4-4EFD-86A6-F04E8FE8E39D}" type="pres">
      <dgm:prSet presAssocID="{8D9CC3CA-9206-4923-AE6C-7F982D801287}" presName="sibTrans" presStyleCnt="0"/>
      <dgm:spPr/>
    </dgm:pt>
    <dgm:pt modelId="{F54AB358-4B4F-4041-96AC-8BFBA7FCC9A8}" type="pres">
      <dgm:prSet presAssocID="{A613E2B9-1B3D-4D4E-B492-BA94DE2D268D}" presName="compNode" presStyleCnt="0"/>
      <dgm:spPr/>
    </dgm:pt>
    <dgm:pt modelId="{42EF6513-9DEF-49C0-84CD-F0AFC9212036}" type="pres">
      <dgm:prSet presAssocID="{A613E2B9-1B3D-4D4E-B492-BA94DE2D268D}" presName="bgRect" presStyleLbl="bgShp" presStyleIdx="2" presStyleCnt="5"/>
      <dgm:spPr>
        <a:solidFill>
          <a:srgbClr val="FF0000">
            <a:alpha val="50000"/>
          </a:srgbClr>
        </a:solidFill>
      </dgm:spPr>
    </dgm:pt>
    <dgm:pt modelId="{E081E37F-E97D-4180-97BC-3958A5D7DC66}" type="pres">
      <dgm:prSet presAssocID="{A613E2B9-1B3D-4D4E-B492-BA94DE2D268D}" presName="iconRect" presStyleLbl="node1" presStyleIdx="2" presStyleCnt="5" custScaleX="183498" custScaleY="183498"/>
      <dgm:spPr>
        <a:blipFill>
          <a:blip xmlns:r="http://schemas.openxmlformats.org/officeDocument/2006/relationships"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Cheers with solid fill"/>
        </a:ext>
      </dgm:extLst>
    </dgm:pt>
    <dgm:pt modelId="{3AA4F0BC-3C81-431F-B4DA-2A1AF368A857}" type="pres">
      <dgm:prSet presAssocID="{A613E2B9-1B3D-4D4E-B492-BA94DE2D268D}" presName="spaceRect" presStyleCnt="0"/>
      <dgm:spPr/>
    </dgm:pt>
    <dgm:pt modelId="{26ABF425-B921-453E-8D99-07F561D453CA}" type="pres">
      <dgm:prSet presAssocID="{A613E2B9-1B3D-4D4E-B492-BA94DE2D268D}" presName="parTx" presStyleLbl="revTx" presStyleIdx="2" presStyleCnt="5">
        <dgm:presLayoutVars>
          <dgm:chMax val="0"/>
          <dgm:chPref val="0"/>
        </dgm:presLayoutVars>
      </dgm:prSet>
      <dgm:spPr/>
    </dgm:pt>
    <dgm:pt modelId="{84FD3F7D-9A32-435E-B6B4-042D489AD855}" type="pres">
      <dgm:prSet presAssocID="{5D311393-6DF7-43E3-ABB6-E238FF6533DC}" presName="sibTrans" presStyleCnt="0"/>
      <dgm:spPr/>
    </dgm:pt>
    <dgm:pt modelId="{DB7A827E-4CD8-4D9F-8675-CC3E5C179D0C}" type="pres">
      <dgm:prSet presAssocID="{25F5ACC8-A055-4EDC-8C2F-0F4690CB78F6}" presName="compNode" presStyleCnt="0"/>
      <dgm:spPr/>
    </dgm:pt>
    <dgm:pt modelId="{FF0998D6-1E2B-4095-9398-A21E1217E389}" type="pres">
      <dgm:prSet presAssocID="{25F5ACC8-A055-4EDC-8C2F-0F4690CB78F6}" presName="bgRect" presStyleLbl="bgShp" presStyleIdx="3" presStyleCnt="5"/>
      <dgm:spPr>
        <a:solidFill>
          <a:srgbClr val="FF0000">
            <a:alpha val="50000"/>
          </a:srgbClr>
        </a:solidFill>
      </dgm:spPr>
    </dgm:pt>
    <dgm:pt modelId="{67709B63-D90A-4437-9CEE-F01B09C0B7BF}" type="pres">
      <dgm:prSet presAssocID="{25F5ACC8-A055-4EDC-8C2F-0F4690CB78F6}" presName="iconRect" presStyleLbl="node1" presStyleIdx="3" presStyleCnt="5" custScaleX="175675" custScaleY="175675"/>
      <dgm:spPr>
        <a:blipFill>
          <a:blip xmlns:r="http://schemas.openxmlformats.org/officeDocument/2006/relationships"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Good Idea with solid fill"/>
        </a:ext>
      </dgm:extLst>
    </dgm:pt>
    <dgm:pt modelId="{ACCC53A0-8145-4314-B9F3-633BC31D54C5}" type="pres">
      <dgm:prSet presAssocID="{25F5ACC8-A055-4EDC-8C2F-0F4690CB78F6}" presName="spaceRect" presStyleCnt="0"/>
      <dgm:spPr/>
    </dgm:pt>
    <dgm:pt modelId="{449A576B-7162-4AE7-9989-55B57B6C7CCE}" type="pres">
      <dgm:prSet presAssocID="{25F5ACC8-A055-4EDC-8C2F-0F4690CB78F6}" presName="parTx" presStyleLbl="revTx" presStyleIdx="3" presStyleCnt="5" custLinFactNeighborX="7">
        <dgm:presLayoutVars>
          <dgm:chMax val="0"/>
          <dgm:chPref val="0"/>
        </dgm:presLayoutVars>
      </dgm:prSet>
      <dgm:spPr/>
    </dgm:pt>
    <dgm:pt modelId="{DEBE1796-3B94-4E6E-B0F3-908F02728F3C}" type="pres">
      <dgm:prSet presAssocID="{B23C3EEB-6A04-456C-83D8-222ED4E649EE}" presName="sibTrans" presStyleCnt="0"/>
      <dgm:spPr/>
    </dgm:pt>
    <dgm:pt modelId="{26D6FEF3-D7E5-44BE-8A23-7A531032A415}" type="pres">
      <dgm:prSet presAssocID="{2DCAA09A-BCBF-4FCD-A2CD-E70A31F16C36}" presName="compNode" presStyleCnt="0"/>
      <dgm:spPr/>
    </dgm:pt>
    <dgm:pt modelId="{3FF34ADC-7C5E-471D-981B-EC2B4BCBA77C}" type="pres">
      <dgm:prSet presAssocID="{2DCAA09A-BCBF-4FCD-A2CD-E70A31F16C36}" presName="bgRect" presStyleLbl="bgShp" presStyleIdx="4" presStyleCnt="5"/>
      <dgm:spPr>
        <a:solidFill>
          <a:srgbClr val="FF0000">
            <a:alpha val="50000"/>
          </a:srgbClr>
        </a:solidFill>
      </dgm:spPr>
    </dgm:pt>
    <dgm:pt modelId="{1DD05E4F-1767-4F50-8434-156726776676}" type="pres">
      <dgm:prSet presAssocID="{2DCAA09A-BCBF-4FCD-A2CD-E70A31F16C36}" presName="iconRect" presStyleLbl="node1" presStyleIdx="4" presStyleCnt="5" custScaleX="139361" custScaleY="139361"/>
      <dgm:spPr>
        <a:blipFill>
          <a:blip xmlns:r="http://schemas.openxmlformats.org/officeDocument/2006/relationships" r:embed="rId9">
            <a:biLevel thresh="25000"/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</dgm:spPr>
      <dgm:extLst>
        <a:ext uri="{E40237B7-FDA0-4F09-8148-C483321AD2D9}">
          <dgm14:cNvPr xmlns:dgm14="http://schemas.microsoft.com/office/drawing/2010/diagram" id="0" name="" descr="End with solid fill"/>
        </a:ext>
      </dgm:extLst>
    </dgm:pt>
    <dgm:pt modelId="{47396AD4-4863-4288-A883-D6EB0DA6BC5D}" type="pres">
      <dgm:prSet presAssocID="{2DCAA09A-BCBF-4FCD-A2CD-E70A31F16C36}" presName="spaceRect" presStyleCnt="0"/>
      <dgm:spPr/>
    </dgm:pt>
    <dgm:pt modelId="{0B7C9A58-18D8-4FCD-A5AC-0F0BED345CE2}" type="pres">
      <dgm:prSet presAssocID="{2DCAA09A-BCBF-4FCD-A2CD-E70A31F16C36}" presName="parTx" presStyleLbl="revTx" presStyleIdx="4" presStyleCnt="5">
        <dgm:presLayoutVars>
          <dgm:chMax val="0"/>
          <dgm:chPref val="0"/>
        </dgm:presLayoutVars>
      </dgm:prSet>
      <dgm:spPr/>
    </dgm:pt>
  </dgm:ptLst>
  <dgm:cxnLst>
    <dgm:cxn modelId="{279F3239-D9D4-4156-8DDE-8B061A3E61CE}" srcId="{EF7ED38A-7187-487A-95D1-5BB4F3DA9028}" destId="{B9D5EDEE-2F81-4F8C-9B53-F9FC920378AF}" srcOrd="0" destOrd="0" parTransId="{EDB2CB9F-1ED9-424B-8DEC-FE80B43FEFDB}" sibTransId="{6D1EE449-BF8C-43A6-9122-2C84B83697FB}"/>
    <dgm:cxn modelId="{B6E7A24C-968C-4D99-92F7-0CD789357F0A}" type="presOf" srcId="{46C1F462-222A-43AF-B8D4-B539A0531874}" destId="{5ED84D90-01BC-46BE-BDF8-89D07055E902}" srcOrd="0" destOrd="0" presId="urn:microsoft.com/office/officeart/2018/2/layout/IconVerticalSolidList"/>
    <dgm:cxn modelId="{3BDDDE51-DF62-4603-9BA1-E6577D3998F8}" srcId="{EF7ED38A-7187-487A-95D1-5BB4F3DA9028}" destId="{A613E2B9-1B3D-4D4E-B492-BA94DE2D268D}" srcOrd="2" destOrd="0" parTransId="{B243A7CB-C2FF-47DF-96CD-F79762FEF491}" sibTransId="{5D311393-6DF7-43E3-ABB6-E238FF6533DC}"/>
    <dgm:cxn modelId="{E7842055-70C7-4AC1-9D0F-85595337F99C}" srcId="{EF7ED38A-7187-487A-95D1-5BB4F3DA9028}" destId="{25F5ACC8-A055-4EDC-8C2F-0F4690CB78F6}" srcOrd="3" destOrd="0" parTransId="{8CAF3B3E-4FFD-4F67-AEF5-22AB028DEE79}" sibTransId="{B23C3EEB-6A04-456C-83D8-222ED4E649EE}"/>
    <dgm:cxn modelId="{FBCDBD79-DA09-444B-AB8B-4C8D036600DC}" type="presOf" srcId="{25F5ACC8-A055-4EDC-8C2F-0F4690CB78F6}" destId="{449A576B-7162-4AE7-9989-55B57B6C7CCE}" srcOrd="0" destOrd="0" presId="urn:microsoft.com/office/officeart/2018/2/layout/IconVerticalSolidList"/>
    <dgm:cxn modelId="{A284A45A-B7BD-4FD4-B63D-53BE9B5CA7E7}" srcId="{EF7ED38A-7187-487A-95D1-5BB4F3DA9028}" destId="{46C1F462-222A-43AF-B8D4-B539A0531874}" srcOrd="1" destOrd="0" parTransId="{62687524-80CE-496E-BE03-F73472BADF67}" sibTransId="{8D9CC3CA-9206-4923-AE6C-7F982D801287}"/>
    <dgm:cxn modelId="{1AD6C189-0464-47DE-B4D4-D03049399A13}" type="presOf" srcId="{2DCAA09A-BCBF-4FCD-A2CD-E70A31F16C36}" destId="{0B7C9A58-18D8-4FCD-A5AC-0F0BED345CE2}" srcOrd="0" destOrd="0" presId="urn:microsoft.com/office/officeart/2018/2/layout/IconVerticalSolidList"/>
    <dgm:cxn modelId="{6B741BC9-820A-4148-8930-BB2FAC4AA868}" type="presOf" srcId="{EF7ED38A-7187-487A-95D1-5BB4F3DA9028}" destId="{67747C05-E3FC-456F-AA78-302A9EE4B608}" srcOrd="0" destOrd="0" presId="urn:microsoft.com/office/officeart/2018/2/layout/IconVerticalSolidList"/>
    <dgm:cxn modelId="{8238AFE7-69F2-483B-96C2-964888E977DD}" type="presOf" srcId="{A613E2B9-1B3D-4D4E-B492-BA94DE2D268D}" destId="{26ABF425-B921-453E-8D99-07F561D453CA}" srcOrd="0" destOrd="0" presId="urn:microsoft.com/office/officeart/2018/2/layout/IconVerticalSolidList"/>
    <dgm:cxn modelId="{BE3F15FD-DC8C-4BDE-B059-D9FDF83EF338}" type="presOf" srcId="{B9D5EDEE-2F81-4F8C-9B53-F9FC920378AF}" destId="{9D12FB29-48E9-4C41-A24C-FE18FD7A5E52}" srcOrd="0" destOrd="0" presId="urn:microsoft.com/office/officeart/2018/2/layout/IconVerticalSolidList"/>
    <dgm:cxn modelId="{3B30CAFD-F9F0-472D-BF26-AD81B1563FB9}" srcId="{EF7ED38A-7187-487A-95D1-5BB4F3DA9028}" destId="{2DCAA09A-BCBF-4FCD-A2CD-E70A31F16C36}" srcOrd="4" destOrd="0" parTransId="{2BAC7478-9DA5-41A2-A5ED-FC88C4D16EB3}" sibTransId="{D4F7B2D2-1170-4A42-8251-79560291CA6C}"/>
    <dgm:cxn modelId="{FD632276-7288-4577-BC73-8A99EE0D56F1}" type="presParOf" srcId="{67747C05-E3FC-456F-AA78-302A9EE4B608}" destId="{2BB5C0D5-3827-4A71-9295-DEA86D29BED8}" srcOrd="0" destOrd="0" presId="urn:microsoft.com/office/officeart/2018/2/layout/IconVerticalSolidList"/>
    <dgm:cxn modelId="{B3572B55-4F66-4346-8172-B1FE5B895824}" type="presParOf" srcId="{2BB5C0D5-3827-4A71-9295-DEA86D29BED8}" destId="{32A6327B-5D08-4DF6-AFF7-6A71B81838DA}" srcOrd="0" destOrd="0" presId="urn:microsoft.com/office/officeart/2018/2/layout/IconVerticalSolidList"/>
    <dgm:cxn modelId="{49892E36-D3E3-4662-AD30-133C3FE17BFD}" type="presParOf" srcId="{2BB5C0D5-3827-4A71-9295-DEA86D29BED8}" destId="{98369B54-038E-4128-A0EC-6F501EEC6ADF}" srcOrd="1" destOrd="0" presId="urn:microsoft.com/office/officeart/2018/2/layout/IconVerticalSolidList"/>
    <dgm:cxn modelId="{C4E5994C-E046-4DB2-BF60-037358268759}" type="presParOf" srcId="{2BB5C0D5-3827-4A71-9295-DEA86D29BED8}" destId="{2DD851B8-02F8-424C-9268-79DC561F6C16}" srcOrd="2" destOrd="0" presId="urn:microsoft.com/office/officeart/2018/2/layout/IconVerticalSolidList"/>
    <dgm:cxn modelId="{0ED73154-F174-4247-900C-955485472F0B}" type="presParOf" srcId="{2BB5C0D5-3827-4A71-9295-DEA86D29BED8}" destId="{9D12FB29-48E9-4C41-A24C-FE18FD7A5E52}" srcOrd="3" destOrd="0" presId="urn:microsoft.com/office/officeart/2018/2/layout/IconVerticalSolidList"/>
    <dgm:cxn modelId="{1EC458CC-0D85-47EC-9BC9-FD726871C20A}" type="presParOf" srcId="{67747C05-E3FC-456F-AA78-302A9EE4B608}" destId="{DC1FCC6E-059C-4D05-9BA1-5B7153920839}" srcOrd="1" destOrd="0" presId="urn:microsoft.com/office/officeart/2018/2/layout/IconVerticalSolidList"/>
    <dgm:cxn modelId="{DAEC26DA-A034-41FF-84BC-C007C724CA82}" type="presParOf" srcId="{67747C05-E3FC-456F-AA78-302A9EE4B608}" destId="{08414F23-0545-4FF6-9542-FD25B9C2E495}" srcOrd="2" destOrd="0" presId="urn:microsoft.com/office/officeart/2018/2/layout/IconVerticalSolidList"/>
    <dgm:cxn modelId="{2F1C0FC3-39F6-4552-8758-A48CEC8EE472}" type="presParOf" srcId="{08414F23-0545-4FF6-9542-FD25B9C2E495}" destId="{8B0AA4A8-1C45-42C4-B1F8-B707CDABA238}" srcOrd="0" destOrd="0" presId="urn:microsoft.com/office/officeart/2018/2/layout/IconVerticalSolidList"/>
    <dgm:cxn modelId="{71F9FABA-E096-4976-9D59-D902485FB920}" type="presParOf" srcId="{08414F23-0545-4FF6-9542-FD25B9C2E495}" destId="{06CBB588-E8CA-4595-9E79-C7507BDACBE9}" srcOrd="1" destOrd="0" presId="urn:microsoft.com/office/officeart/2018/2/layout/IconVerticalSolidList"/>
    <dgm:cxn modelId="{C32BA3FE-ECA0-4508-80DC-C8447C934E98}" type="presParOf" srcId="{08414F23-0545-4FF6-9542-FD25B9C2E495}" destId="{159BB3FE-F931-4BE7-B247-1B0898023650}" srcOrd="2" destOrd="0" presId="urn:microsoft.com/office/officeart/2018/2/layout/IconVerticalSolidList"/>
    <dgm:cxn modelId="{BD1D9CD2-F64D-4D36-826B-EE4A0AD034F1}" type="presParOf" srcId="{08414F23-0545-4FF6-9542-FD25B9C2E495}" destId="{5ED84D90-01BC-46BE-BDF8-89D07055E902}" srcOrd="3" destOrd="0" presId="urn:microsoft.com/office/officeart/2018/2/layout/IconVerticalSolidList"/>
    <dgm:cxn modelId="{7F89723E-0C3F-422B-B85D-F8B4BC0B6130}" type="presParOf" srcId="{67747C05-E3FC-456F-AA78-302A9EE4B608}" destId="{C6646D90-50B4-4EFD-86A6-F04E8FE8E39D}" srcOrd="3" destOrd="0" presId="urn:microsoft.com/office/officeart/2018/2/layout/IconVerticalSolidList"/>
    <dgm:cxn modelId="{B79B83BA-16BE-4AF9-9826-3E5A09498D2C}" type="presParOf" srcId="{67747C05-E3FC-456F-AA78-302A9EE4B608}" destId="{F54AB358-4B4F-4041-96AC-8BFBA7FCC9A8}" srcOrd="4" destOrd="0" presId="urn:microsoft.com/office/officeart/2018/2/layout/IconVerticalSolidList"/>
    <dgm:cxn modelId="{4604B393-0F96-4E20-BEBC-7E335C9DAB05}" type="presParOf" srcId="{F54AB358-4B4F-4041-96AC-8BFBA7FCC9A8}" destId="{42EF6513-9DEF-49C0-84CD-F0AFC9212036}" srcOrd="0" destOrd="0" presId="urn:microsoft.com/office/officeart/2018/2/layout/IconVerticalSolidList"/>
    <dgm:cxn modelId="{0C1BB749-D206-4EBB-A597-3DB897159B79}" type="presParOf" srcId="{F54AB358-4B4F-4041-96AC-8BFBA7FCC9A8}" destId="{E081E37F-E97D-4180-97BC-3958A5D7DC66}" srcOrd="1" destOrd="0" presId="urn:microsoft.com/office/officeart/2018/2/layout/IconVerticalSolidList"/>
    <dgm:cxn modelId="{43402307-FE55-4EF2-9F7A-B4219BC791AA}" type="presParOf" srcId="{F54AB358-4B4F-4041-96AC-8BFBA7FCC9A8}" destId="{3AA4F0BC-3C81-431F-B4DA-2A1AF368A857}" srcOrd="2" destOrd="0" presId="urn:microsoft.com/office/officeart/2018/2/layout/IconVerticalSolidList"/>
    <dgm:cxn modelId="{589EA061-1F7A-4747-AC22-0FD4A171D8A8}" type="presParOf" srcId="{F54AB358-4B4F-4041-96AC-8BFBA7FCC9A8}" destId="{26ABF425-B921-453E-8D99-07F561D453CA}" srcOrd="3" destOrd="0" presId="urn:microsoft.com/office/officeart/2018/2/layout/IconVerticalSolidList"/>
    <dgm:cxn modelId="{7FF5E198-8E1B-4741-A34A-B65974A365B5}" type="presParOf" srcId="{67747C05-E3FC-456F-AA78-302A9EE4B608}" destId="{84FD3F7D-9A32-435E-B6B4-042D489AD855}" srcOrd="5" destOrd="0" presId="urn:microsoft.com/office/officeart/2018/2/layout/IconVerticalSolidList"/>
    <dgm:cxn modelId="{AD6AA9C4-226F-47BE-A19C-5B8F8A4166C9}" type="presParOf" srcId="{67747C05-E3FC-456F-AA78-302A9EE4B608}" destId="{DB7A827E-4CD8-4D9F-8675-CC3E5C179D0C}" srcOrd="6" destOrd="0" presId="urn:microsoft.com/office/officeart/2018/2/layout/IconVerticalSolidList"/>
    <dgm:cxn modelId="{D806B73E-13AD-4AAF-B207-849324EE8961}" type="presParOf" srcId="{DB7A827E-4CD8-4D9F-8675-CC3E5C179D0C}" destId="{FF0998D6-1E2B-4095-9398-A21E1217E389}" srcOrd="0" destOrd="0" presId="urn:microsoft.com/office/officeart/2018/2/layout/IconVerticalSolidList"/>
    <dgm:cxn modelId="{2E0478C2-A66D-4B7D-82F1-EEC067651B30}" type="presParOf" srcId="{DB7A827E-4CD8-4D9F-8675-CC3E5C179D0C}" destId="{67709B63-D90A-4437-9CEE-F01B09C0B7BF}" srcOrd="1" destOrd="0" presId="urn:microsoft.com/office/officeart/2018/2/layout/IconVerticalSolidList"/>
    <dgm:cxn modelId="{760EFDD3-99EC-4C9C-BDAC-D94120A8F0CD}" type="presParOf" srcId="{DB7A827E-4CD8-4D9F-8675-CC3E5C179D0C}" destId="{ACCC53A0-8145-4314-B9F3-633BC31D54C5}" srcOrd="2" destOrd="0" presId="urn:microsoft.com/office/officeart/2018/2/layout/IconVerticalSolidList"/>
    <dgm:cxn modelId="{8A817C59-C66E-4A35-BE6D-86E6E1B02A8E}" type="presParOf" srcId="{DB7A827E-4CD8-4D9F-8675-CC3E5C179D0C}" destId="{449A576B-7162-4AE7-9989-55B57B6C7CCE}" srcOrd="3" destOrd="0" presId="urn:microsoft.com/office/officeart/2018/2/layout/IconVerticalSolidList"/>
    <dgm:cxn modelId="{1CBCC867-E2AE-45D6-BD7A-BB163FAA2009}" type="presParOf" srcId="{67747C05-E3FC-456F-AA78-302A9EE4B608}" destId="{DEBE1796-3B94-4E6E-B0F3-908F02728F3C}" srcOrd="7" destOrd="0" presId="urn:microsoft.com/office/officeart/2018/2/layout/IconVerticalSolidList"/>
    <dgm:cxn modelId="{8D79E4E1-6733-49F0-883D-68AC5437C2BE}" type="presParOf" srcId="{67747C05-E3FC-456F-AA78-302A9EE4B608}" destId="{26D6FEF3-D7E5-44BE-8A23-7A531032A415}" srcOrd="8" destOrd="0" presId="urn:microsoft.com/office/officeart/2018/2/layout/IconVerticalSolidList"/>
    <dgm:cxn modelId="{9545C72B-AC24-408C-809B-C662ACCC6C27}" type="presParOf" srcId="{26D6FEF3-D7E5-44BE-8A23-7A531032A415}" destId="{3FF34ADC-7C5E-471D-981B-EC2B4BCBA77C}" srcOrd="0" destOrd="0" presId="urn:microsoft.com/office/officeart/2018/2/layout/IconVerticalSolidList"/>
    <dgm:cxn modelId="{DB384F27-A2AB-452E-98F6-F6216D5BB5DB}" type="presParOf" srcId="{26D6FEF3-D7E5-44BE-8A23-7A531032A415}" destId="{1DD05E4F-1767-4F50-8434-156726776676}" srcOrd="1" destOrd="0" presId="urn:microsoft.com/office/officeart/2018/2/layout/IconVerticalSolidList"/>
    <dgm:cxn modelId="{60865BFB-C97E-409D-B94C-09BA22A43905}" type="presParOf" srcId="{26D6FEF3-D7E5-44BE-8A23-7A531032A415}" destId="{47396AD4-4863-4288-A883-D6EB0DA6BC5D}" srcOrd="2" destOrd="0" presId="urn:microsoft.com/office/officeart/2018/2/layout/IconVerticalSolidList"/>
    <dgm:cxn modelId="{42A85D79-AA8D-4A97-B4DC-4BB9E4A269BB}" type="presParOf" srcId="{26D6FEF3-D7E5-44BE-8A23-7A531032A415}" destId="{0B7C9A58-18D8-4FCD-A5AC-0F0BED345CE2}" srcOrd="3" destOrd="0" presId="urn:microsoft.com/office/officeart/2018/2/layout/IconVerticalSolidList"/>
  </dgm:cxnLst>
  <dgm:bg/>
  <dgm:whole/>
  <dgm:extLst>
    <a:ext uri="http://schemas.microsoft.com/office/drawing/2008/diagram">
      <dsp:dataModelExt xmlns:dsp="http://schemas.microsoft.com/office/drawing/2008/diagram" relId="rId11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32A6327B-5D08-4DF6-AFF7-6A71B81838DA}">
      <dsp:nvSpPr>
        <dsp:cNvPr id="0" name=""/>
        <dsp:cNvSpPr/>
      </dsp:nvSpPr>
      <dsp:spPr>
        <a:xfrm>
          <a:off x="0" y="14507"/>
          <a:ext cx="11745742" cy="905055"/>
        </a:xfrm>
        <a:prstGeom prst="roundRect">
          <a:avLst>
            <a:gd name="adj" fmla="val 10000"/>
          </a:avLst>
        </a:prstGeom>
        <a:solidFill>
          <a:srgbClr val="FF0000">
            <a:alpha val="5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98369B54-038E-4128-A0EC-6F501EEC6ADF}">
      <dsp:nvSpPr>
        <dsp:cNvPr id="0" name=""/>
        <dsp:cNvSpPr/>
      </dsp:nvSpPr>
      <dsp:spPr>
        <a:xfrm>
          <a:off x="57244" y="38799"/>
          <a:ext cx="931207" cy="931207"/>
        </a:xfrm>
        <a:prstGeom prst="rect">
          <a:avLst/>
        </a:prstGeom>
        <a:blipFill>
          <a:blip xmlns:r="http://schemas.openxmlformats.org/officeDocument/2006/relationships" r:embed="rId1">
            <a:biLevel thresh="25000"/>
            <a:extLst>
              <a:ext uri="{96DAC541-7B7A-43D3-8B79-37D633B846F1}">
                <asvg:svgBlip xmlns:asvg="http://schemas.microsoft.com/office/drawing/2016/SVG/main" r:embed="rId2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9D12FB29-48E9-4C41-A24C-FE18FD7A5E52}">
      <dsp:nvSpPr>
        <dsp:cNvPr id="0" name=""/>
        <dsp:cNvSpPr/>
      </dsp:nvSpPr>
      <dsp:spPr>
        <a:xfrm>
          <a:off x="1045338" y="9937"/>
          <a:ext cx="10700403" cy="905055"/>
        </a:xfrm>
        <a:prstGeom prst="rect">
          <a:avLst/>
        </a:prstGeom>
        <a:gradFill flip="none" rotWithShape="1">
          <a:gsLst>
            <a:gs pos="0">
              <a:schemeClr val="bg2"/>
            </a:gs>
            <a:gs pos="74000">
              <a:schemeClr val="bg2">
                <a:lumMod val="90000"/>
              </a:schemeClr>
            </a:gs>
            <a:gs pos="83000">
              <a:schemeClr val="bg2">
                <a:lumMod val="90000"/>
              </a:schemeClr>
            </a:gs>
            <a:gs pos="100000">
              <a:schemeClr val="bg1">
                <a:lumMod val="75000"/>
              </a:schemeClr>
            </a:gs>
          </a:gsLst>
          <a:lin ang="54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785" tIns="95785" rIns="95785" bIns="95785" numCol="1" spcCol="1270" anchor="ctr" anchorCtr="0">
          <a:noAutofit/>
        </a:bodyPr>
        <a:lstStyle/>
        <a:p>
          <a:pPr marL="0" lvl="0" indent="0" algn="l" defTabSz="1422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1" kern="1200" dirty="0">
              <a:solidFill>
                <a:schemeClr val="tx1"/>
              </a:solidFill>
            </a:rPr>
            <a:t>About Vinay Merchant </a:t>
          </a:r>
        </a:p>
      </dsp:txBody>
      <dsp:txXfrm>
        <a:off x="1045338" y="9937"/>
        <a:ext cx="10700403" cy="905055"/>
      </dsp:txXfrm>
    </dsp:sp>
    <dsp:sp modelId="{8B0AA4A8-1C45-42C4-B1F8-B707CDABA238}">
      <dsp:nvSpPr>
        <dsp:cNvPr id="0" name=""/>
        <dsp:cNvSpPr/>
      </dsp:nvSpPr>
      <dsp:spPr>
        <a:xfrm>
          <a:off x="0" y="1158902"/>
          <a:ext cx="11745742" cy="905055"/>
        </a:xfrm>
        <a:prstGeom prst="roundRect">
          <a:avLst>
            <a:gd name="adj" fmla="val 10000"/>
          </a:avLst>
        </a:prstGeom>
        <a:solidFill>
          <a:srgbClr val="FF0000">
            <a:alpha val="5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06CBB588-E8CA-4595-9E79-C7507BDACBE9}">
      <dsp:nvSpPr>
        <dsp:cNvPr id="0" name=""/>
        <dsp:cNvSpPr/>
      </dsp:nvSpPr>
      <dsp:spPr>
        <a:xfrm>
          <a:off x="86840" y="1175601"/>
          <a:ext cx="871658" cy="871658"/>
        </a:xfrm>
        <a:prstGeom prst="rect">
          <a:avLst/>
        </a:prstGeom>
        <a:blipFill>
          <a:blip xmlns:r="http://schemas.openxmlformats.org/officeDocument/2006/relationships" r:embed="rId3">
            <a:biLevel thresh="25000"/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5ED84D90-01BC-46BE-BDF8-89D07055E902}">
      <dsp:nvSpPr>
        <dsp:cNvPr id="0" name=""/>
        <dsp:cNvSpPr/>
      </dsp:nvSpPr>
      <dsp:spPr>
        <a:xfrm>
          <a:off x="1045338" y="1158902"/>
          <a:ext cx="10700403" cy="905055"/>
        </a:xfrm>
        <a:prstGeom prst="rect">
          <a:avLst/>
        </a:prstGeom>
        <a:gradFill flip="none" rotWithShape="1">
          <a:gsLst>
            <a:gs pos="0">
              <a:schemeClr val="bg2"/>
            </a:gs>
            <a:gs pos="74000">
              <a:schemeClr val="bg2">
                <a:lumMod val="90000"/>
              </a:schemeClr>
            </a:gs>
            <a:gs pos="83000">
              <a:schemeClr val="bg2">
                <a:lumMod val="90000"/>
              </a:schemeClr>
            </a:gs>
            <a:gs pos="100000">
              <a:schemeClr val="bg1">
                <a:lumMod val="75000"/>
              </a:schemeClr>
            </a:gs>
          </a:gsLst>
          <a:lin ang="54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785" tIns="95785" rIns="95785" bIns="95785" numCol="1" spcCol="1270" anchor="ctr" anchorCtr="0">
          <a:noAutofit/>
        </a:bodyPr>
        <a:lstStyle/>
        <a:p>
          <a:pPr marL="0" lvl="0" indent="0" algn="l" defTabSz="1422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1" kern="1200" dirty="0">
              <a:solidFill>
                <a:schemeClr val="tx1"/>
              </a:solidFill>
            </a:rPr>
            <a:t>One Xcel Energy Way: Continued</a:t>
          </a:r>
        </a:p>
      </dsp:txBody>
      <dsp:txXfrm>
        <a:off x="1045338" y="1158902"/>
        <a:ext cx="10700403" cy="905055"/>
      </dsp:txXfrm>
    </dsp:sp>
    <dsp:sp modelId="{42EF6513-9DEF-49C0-84CD-F0AFC9212036}">
      <dsp:nvSpPr>
        <dsp:cNvPr id="0" name=""/>
        <dsp:cNvSpPr/>
      </dsp:nvSpPr>
      <dsp:spPr>
        <a:xfrm>
          <a:off x="0" y="2294403"/>
          <a:ext cx="11745742" cy="905055"/>
        </a:xfrm>
        <a:prstGeom prst="roundRect">
          <a:avLst>
            <a:gd name="adj" fmla="val 10000"/>
          </a:avLst>
        </a:prstGeom>
        <a:solidFill>
          <a:srgbClr val="FF0000">
            <a:alpha val="5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E081E37F-E97D-4180-97BC-3958A5D7DC66}">
      <dsp:nvSpPr>
        <dsp:cNvPr id="0" name=""/>
        <dsp:cNvSpPr/>
      </dsp:nvSpPr>
      <dsp:spPr>
        <a:xfrm>
          <a:off x="65960" y="2290222"/>
          <a:ext cx="913417" cy="913417"/>
        </a:xfrm>
        <a:prstGeom prst="rect">
          <a:avLst/>
        </a:prstGeom>
        <a:blipFill>
          <a:blip xmlns:r="http://schemas.openxmlformats.org/officeDocument/2006/relationships" r:embed="rId5">
            <a:biLevel thresh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6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26ABF425-B921-453E-8D99-07F561D453CA}">
      <dsp:nvSpPr>
        <dsp:cNvPr id="0" name=""/>
        <dsp:cNvSpPr/>
      </dsp:nvSpPr>
      <dsp:spPr>
        <a:xfrm>
          <a:off x="1045338" y="2294403"/>
          <a:ext cx="10700403" cy="905055"/>
        </a:xfrm>
        <a:prstGeom prst="rect">
          <a:avLst/>
        </a:prstGeom>
        <a:gradFill flip="none" rotWithShape="1">
          <a:gsLst>
            <a:gs pos="0">
              <a:schemeClr val="bg2"/>
            </a:gs>
            <a:gs pos="74000">
              <a:schemeClr val="bg2">
                <a:lumMod val="90000"/>
              </a:schemeClr>
            </a:gs>
            <a:gs pos="83000">
              <a:schemeClr val="bg2">
                <a:lumMod val="90000"/>
              </a:schemeClr>
            </a:gs>
            <a:gs pos="100000">
              <a:schemeClr val="bg1">
                <a:lumMod val="75000"/>
              </a:schemeClr>
            </a:gs>
          </a:gsLst>
          <a:lin ang="54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785" tIns="95785" rIns="95785" bIns="95785" numCol="1" spcCol="1270" anchor="ctr" anchorCtr="0">
          <a:noAutofit/>
        </a:bodyPr>
        <a:lstStyle/>
        <a:p>
          <a:pPr marL="0" lvl="0" indent="0" algn="l" defTabSz="1422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1" kern="1200" dirty="0">
              <a:solidFill>
                <a:schemeClr val="tx1"/>
              </a:solidFill>
            </a:rPr>
            <a:t>What is a Rally Room? </a:t>
          </a:r>
        </a:p>
      </dsp:txBody>
      <dsp:txXfrm>
        <a:off x="1045338" y="2294403"/>
        <a:ext cx="10700403" cy="905055"/>
      </dsp:txXfrm>
    </dsp:sp>
    <dsp:sp modelId="{FF0998D6-1E2B-4095-9398-A21E1217E389}">
      <dsp:nvSpPr>
        <dsp:cNvPr id="0" name=""/>
        <dsp:cNvSpPr/>
      </dsp:nvSpPr>
      <dsp:spPr>
        <a:xfrm>
          <a:off x="0" y="3429903"/>
          <a:ext cx="11745742" cy="905055"/>
        </a:xfrm>
        <a:prstGeom prst="roundRect">
          <a:avLst>
            <a:gd name="adj" fmla="val 10000"/>
          </a:avLst>
        </a:prstGeom>
        <a:solidFill>
          <a:srgbClr val="FF0000">
            <a:alpha val="5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67709B63-D90A-4437-9CEE-F01B09C0B7BF}">
      <dsp:nvSpPr>
        <dsp:cNvPr id="0" name=""/>
        <dsp:cNvSpPr/>
      </dsp:nvSpPr>
      <dsp:spPr>
        <a:xfrm>
          <a:off x="85431" y="3445192"/>
          <a:ext cx="874475" cy="874475"/>
        </a:xfrm>
        <a:prstGeom prst="rect">
          <a:avLst/>
        </a:prstGeom>
        <a:blipFill>
          <a:blip xmlns:r="http://schemas.openxmlformats.org/officeDocument/2006/relationships" r:embed="rId7">
            <a:biLevel thresh="25000"/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8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449A576B-7162-4AE7-9989-55B57B6C7CCE}">
      <dsp:nvSpPr>
        <dsp:cNvPr id="0" name=""/>
        <dsp:cNvSpPr/>
      </dsp:nvSpPr>
      <dsp:spPr>
        <a:xfrm>
          <a:off x="1045338" y="3429903"/>
          <a:ext cx="10700403" cy="905055"/>
        </a:xfrm>
        <a:prstGeom prst="rect">
          <a:avLst/>
        </a:prstGeom>
        <a:gradFill flip="none" rotWithShape="1">
          <a:gsLst>
            <a:gs pos="0">
              <a:schemeClr val="bg2"/>
            </a:gs>
            <a:gs pos="74000">
              <a:schemeClr val="bg2">
                <a:lumMod val="90000"/>
              </a:schemeClr>
            </a:gs>
            <a:gs pos="83000">
              <a:schemeClr val="bg2">
                <a:lumMod val="90000"/>
              </a:schemeClr>
            </a:gs>
            <a:gs pos="100000">
              <a:schemeClr val="bg1">
                <a:lumMod val="75000"/>
              </a:schemeClr>
            </a:gs>
          </a:gsLst>
          <a:lin ang="54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785" tIns="95785" rIns="95785" bIns="95785" numCol="1" spcCol="1270" anchor="ctr" anchorCtr="0">
          <a:noAutofit/>
        </a:bodyPr>
        <a:lstStyle/>
        <a:p>
          <a:pPr marL="0" lvl="0" indent="0" algn="l" defTabSz="1422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1" kern="1200" dirty="0">
              <a:solidFill>
                <a:schemeClr val="tx1"/>
              </a:solidFill>
            </a:rPr>
            <a:t>Overall Impact &amp; Takeaways</a:t>
          </a:r>
        </a:p>
      </dsp:txBody>
      <dsp:txXfrm>
        <a:off x="1045338" y="3429903"/>
        <a:ext cx="10700403" cy="905055"/>
      </dsp:txXfrm>
    </dsp:sp>
    <dsp:sp modelId="{3FF34ADC-7C5E-471D-981B-EC2B4BCBA77C}">
      <dsp:nvSpPr>
        <dsp:cNvPr id="0" name=""/>
        <dsp:cNvSpPr/>
      </dsp:nvSpPr>
      <dsp:spPr>
        <a:xfrm>
          <a:off x="0" y="4561222"/>
          <a:ext cx="11745742" cy="905055"/>
        </a:xfrm>
        <a:prstGeom prst="roundRect">
          <a:avLst>
            <a:gd name="adj" fmla="val 10000"/>
          </a:avLst>
        </a:prstGeom>
        <a:solidFill>
          <a:srgbClr val="FF0000">
            <a:alpha val="50000"/>
          </a:srgbClr>
        </a:solidFill>
        <a:ln>
          <a:noFill/>
        </a:ln>
        <a:effectLst/>
      </dsp:spPr>
      <dsp:style>
        <a:lnRef idx="0">
          <a:scrgbClr r="0" g="0" b="0"/>
        </a:lnRef>
        <a:fillRef idx="1">
          <a:scrgbClr r="0" g="0" b="0"/>
        </a:fillRef>
        <a:effectRef idx="2">
          <a:scrgbClr r="0" g="0" b="0"/>
        </a:effectRef>
        <a:fontRef idx="minor"/>
      </dsp:style>
    </dsp:sp>
    <dsp:sp modelId="{1DD05E4F-1767-4F50-8434-156726776676}">
      <dsp:nvSpPr>
        <dsp:cNvPr id="0" name=""/>
        <dsp:cNvSpPr/>
      </dsp:nvSpPr>
      <dsp:spPr>
        <a:xfrm>
          <a:off x="175813" y="4666894"/>
          <a:ext cx="693711" cy="693711"/>
        </a:xfrm>
        <a:prstGeom prst="rect">
          <a:avLst/>
        </a:prstGeom>
        <a:blipFill>
          <a:blip xmlns:r="http://schemas.openxmlformats.org/officeDocument/2006/relationships" r:embed="rId9">
            <a:biLevel thresh="25000"/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rcRect/>
          <a:stretch>
            <a:fillRect/>
          </a:stretch>
        </a:blipFill>
        <a:ln>
          <a:noFill/>
        </a:ln>
        <a:effectLst>
          <a:outerShdw blurRad="57150" dist="19050" dir="5400000" algn="ctr" rotWithShape="0">
            <a:srgbClr val="000000">
              <a:alpha val="63000"/>
            </a:srgbClr>
          </a:outerShdw>
        </a:effectLst>
      </dsp:spPr>
      <dsp:style>
        <a:lnRef idx="0">
          <a:scrgbClr r="0" g="0" b="0"/>
        </a:lnRef>
        <a:fillRef idx="3">
          <a:scrgbClr r="0" g="0" b="0"/>
        </a:fillRef>
        <a:effectRef idx="3">
          <a:scrgbClr r="0" g="0" b="0"/>
        </a:effectRef>
        <a:fontRef idx="minor">
          <a:schemeClr val="lt1"/>
        </a:fontRef>
      </dsp:style>
    </dsp:sp>
    <dsp:sp modelId="{0B7C9A58-18D8-4FCD-A5AC-0F0BED345CE2}">
      <dsp:nvSpPr>
        <dsp:cNvPr id="0" name=""/>
        <dsp:cNvSpPr/>
      </dsp:nvSpPr>
      <dsp:spPr>
        <a:xfrm>
          <a:off x="1045338" y="4561222"/>
          <a:ext cx="10700403" cy="905055"/>
        </a:xfrm>
        <a:prstGeom prst="rect">
          <a:avLst/>
        </a:prstGeom>
        <a:gradFill flip="none" rotWithShape="1">
          <a:gsLst>
            <a:gs pos="0">
              <a:schemeClr val="bg2"/>
            </a:gs>
            <a:gs pos="74000">
              <a:schemeClr val="bg2">
                <a:lumMod val="90000"/>
              </a:schemeClr>
            </a:gs>
            <a:gs pos="83000">
              <a:schemeClr val="bg2">
                <a:lumMod val="90000"/>
              </a:schemeClr>
            </a:gs>
            <a:gs pos="100000">
              <a:schemeClr val="bg1">
                <a:lumMod val="75000"/>
              </a:schemeClr>
            </a:gs>
          </a:gsLst>
          <a:lin ang="5400000" scaled="1"/>
          <a:tileRect/>
        </a:gradFill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95785" tIns="95785" rIns="95785" bIns="95785" numCol="1" spcCol="1270" anchor="ctr" anchorCtr="0">
          <a:noAutofit/>
        </a:bodyPr>
        <a:lstStyle/>
        <a:p>
          <a:pPr marL="0" lvl="0" indent="0" algn="l" defTabSz="1422400">
            <a:lnSpc>
              <a:spcPct val="10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3200" b="1" kern="1200" dirty="0">
              <a:solidFill>
                <a:schemeClr val="tx1"/>
              </a:solidFill>
            </a:rPr>
            <a:t>Next Rotation … and Beyond</a:t>
          </a:r>
        </a:p>
      </dsp:txBody>
      <dsp:txXfrm>
        <a:off x="1045338" y="4561222"/>
        <a:ext cx="10700403" cy="905055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18/2/layout/IconVerticalSolidList">
  <dgm:title val="Icon Vertical Solid List"/>
  <dgm:desc val="Use to show a series of visuals from top to bottom with Level 1 or Level 1 and Level 2 text grouped in a shape. Works best with icons or small pictures with lengthier descriptions."/>
  <dgm:catLst>
    <dgm:cat type="icon" pri="500"/>
  </dgm:catLst>
  <dgm:sampData useDef="1">
    <dgm:dataModel>
      <dgm:ptLst/>
      <dgm:bg/>
      <dgm:whole/>
    </dgm:dataModel>
  </dgm:sampData>
  <dgm:styleData useDef="1">
    <dgm:dataModel>
      <dgm:ptLst/>
      <dgm:bg/>
      <dgm:whole/>
    </dgm:dataModel>
  </dgm:styleData>
  <dgm:clrData useDef="1">
    <dgm:dataModel>
      <dgm:ptLst/>
      <dgm:bg/>
      <dgm:whole/>
    </dgm:dataModel>
  </dgm:clrData>
  <dgm:layoutNode name="root">
    <dgm:varLst>
      <dgm:dir/>
      <dgm:resizeHandles val="exact"/>
    </dgm:varLst>
    <dgm:choose name="Name0">
      <dgm:if name="Name1" axis="self" func="var" arg="dir" op="equ" val="norm">
        <dgm:alg type="lin">
          <dgm:param type="linDir" val="fromT"/>
          <dgm:param type="nodeHorzAlign" val="l"/>
        </dgm:alg>
      </dgm:if>
      <dgm:else name="Name2">
        <dgm:alg type="lin">
          <dgm:param type="linDir" val="fromT"/>
          <dgm:param type="nodeHorzAlign" val="r"/>
        </dgm:alg>
      </dgm:else>
    </dgm:choose>
    <dgm:shape xmlns:r="http://schemas.openxmlformats.org/officeDocument/2006/relationships" r:blip="">
      <dgm:adjLst/>
    </dgm:shape>
    <dgm:presOf/>
    <dgm:choose name="Name3">
      <dgm:if name="Name4" axis="ch" ptType="node" func="cnt" op="lte" val="3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5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5" axis="ch" ptType="node" func="cnt" op="lte" val="4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22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if name="Name6" axis="ch" ptType="node" func="cnt" op="lte" val="6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9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if>
      <dgm:else name="Name7">
        <dgm:constrLst>
          <dgm:constr type="h" for="ch" forName="compNode" refType="h" fact="0.3"/>
          <dgm:constr type="w" for="ch" forName="compNode" refType="w"/>
          <dgm:constr type="h" for="ch" forName="sibTrans" refType="h" refFor="ch" refForName="compNode" fact="0.25"/>
          <dgm:constr type="primFontSz" for="des" forName="parTx" val="16"/>
          <dgm:constr type="primFontSz" for="des" forName="desTx" refType="primFontSz" refFor="des" refForName="parTx" op="lte" fact="0.75"/>
          <dgm:constr type="h" for="des" forName="compNode" op="equ"/>
          <dgm:constr type="h" for="des" forName="bgRect" op="equ"/>
          <dgm:constr type="h" for="des" forName="iconRect" op="equ"/>
          <dgm:constr type="w" for="des" forName="iconRect" op="equ"/>
          <dgm:constr type="h" for="des" forName="spaceRect" op="equ"/>
          <dgm:constr type="h" for="des" forName="parTx" op="equ"/>
          <dgm:constr type="h" for="des" forName="desTx" op="equ"/>
        </dgm:constrLst>
      </dgm:else>
    </dgm:choose>
    <dgm:ruleLst>
      <dgm:rule type="h" for="ch" forName="compNode" val="0" fact="NaN" max="NaN"/>
    </dgm:ruleLst>
    <dgm:forEach name="Name8" axis="ch" ptType="node">
      <dgm:layoutNode name="compNode">
        <dgm:alg type="composite"/>
        <dgm:shape xmlns:r="http://schemas.openxmlformats.org/officeDocument/2006/relationships" r:blip="">
          <dgm:adjLst/>
        </dgm:shape>
        <dgm:presOf axis="self"/>
        <dgm:choose name="Name9">
          <dgm:if name="Name10" axis="ch" ptType="node" func="cnt" op="gte" val="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w" for="ch" forName="parTx" refType="w" fact="0.45"/>
              <dgm:constr type="h" for="ch" forName="parTx" refType="h"/>
              <dgm:constr type="l" for="ch" forName="parTx" refType="r" refFor="ch" refForName="spaceRect"/>
              <dgm:constr type="t" for="ch" forName="parTx"/>
              <dgm:constr type="h" for="ch" forName="desTx" refType="h"/>
              <dgm:constr type="l" for="ch" forName="desTx" refType="r" refFor="ch" refForName="parTx"/>
              <dgm:constr type="t" for="ch" forName="desTx"/>
            </dgm:constrLst>
          </dgm:if>
          <dgm:else name="Name11">
            <dgm:constrLst>
              <dgm:constr type="w" for="ch" forName="bgRect" refType="w"/>
              <dgm:constr type="h" for="ch" forName="bgRect" refType="h"/>
              <dgm:constr type="l" for="ch" forName="bgRect"/>
              <dgm:constr type="t" for="ch" forName="bgRect"/>
              <dgm:constr type="h" for="ch" forName="iconRect" refType="h" fact="0.55"/>
              <dgm:constr type="w" for="ch" forName="iconRect" refType="h" refFor="ch" refForName="iconRect"/>
              <dgm:constr type="l" for="ch" forName="iconRect" refType="h" refFor="ch" refForName="iconRect" fact="0.55"/>
              <dgm:constr type="ctrY" for="ch" forName="iconRect" refType="ctrY" refFor="ch" refForName="bgRect"/>
              <dgm:constr type="w" for="ch" forName="spaceRect" refType="l" refFor="ch" refForName="iconRect"/>
              <dgm:constr type="h" for="ch" forName="spaceRect" refType="h"/>
              <dgm:constr type="l" for="ch" forName="spaceRect" refType="r" refFor="ch" refForName="iconRect"/>
              <dgm:constr type="t" for="ch" forName="spaceRect"/>
              <dgm:constr type="h" for="ch" forName="parTx" refType="h"/>
              <dgm:constr type="l" for="ch" forName="parTx" refType="r" refFor="ch" refForName="spaceRect"/>
              <dgm:constr type="t" for="ch" forName="parTx"/>
            </dgm:constrLst>
          </dgm:else>
        </dgm:choose>
        <dgm:ruleLst>
          <dgm:rule type="h" val="INF" fact="NaN" max="NaN"/>
        </dgm:ruleLst>
        <dgm:layoutNode name="bgRect" styleLbl="bgShp">
          <dgm:alg type="sp"/>
          <dgm:shape xmlns:r="http://schemas.openxmlformats.org/officeDocument/2006/relationships" type="roundRect" r:blip="">
            <dgm:adjLst>
              <dgm:adj idx="1" val="0.1"/>
            </dgm:adjLst>
          </dgm:shape>
          <dgm:presOf/>
          <dgm:constrLst/>
          <dgm:ruleLst/>
        </dgm:layoutNode>
        <dgm:layoutNode name="iconRect" styleLbl="node1">
          <dgm:alg type="sp"/>
          <dgm:shape xmlns:r="http://schemas.openxmlformats.org/officeDocument/2006/relationships" type="rect" r:blip="" blipPhldr="1">
            <dgm:adjLst/>
          </dgm:shape>
          <dgm:presOf/>
          <dgm:constrLst/>
          <dgm:ruleLst/>
        </dgm:layoutNode>
        <dgm:layoutNode name="spaceRect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  <dgm:layoutNode name="parTx" styleLbl="revTx">
          <dgm:varLst>
            <dgm:chMax val="0"/>
            <dgm:chPref val="0"/>
          </dgm:varLst>
          <dgm:alg type="tx">
            <dgm:param type="txAnchorVert" val="mid"/>
            <dgm:param type="parTxLTRAlign" val="l"/>
            <dgm:param type="shpTxLTRAlignCh" val="l"/>
            <dgm:param type="parTxRTLAlign" val="r"/>
            <dgm:param type="shpTxRTLAlignCh" val="r"/>
          </dgm:alg>
          <dgm:shape xmlns:r="http://schemas.openxmlformats.org/officeDocument/2006/relationships" type="rect" r:blip="">
            <dgm:adjLst/>
          </dgm:shape>
          <dgm:presOf axis="self" ptType="node"/>
          <dgm:constrLst>
            <dgm:constr type="lMarg" refType="h" fact="0.3"/>
            <dgm:constr type="rMarg" refType="h" fact="0.3"/>
            <dgm:constr type="tMarg" refType="h" fact="0.3"/>
            <dgm:constr type="bMarg" refType="h" fact="0.3"/>
          </dgm:constrLst>
          <dgm:ruleLst>
            <dgm:rule type="primFontSz" val="14" fact="NaN" max="NaN"/>
            <dgm:rule type="h" val="INF" fact="NaN" max="NaN"/>
          </dgm:ruleLst>
        </dgm:layoutNode>
        <dgm:choose name="Name12">
          <dgm:if name="Name13" axis="ch" ptType="node" func="cnt" op="gte" val="1">
            <dgm:layoutNode name="desTx" styleLbl="revTx">
              <dgm:varLst/>
              <dgm:alg type="tx">
                <dgm:param type="txAnchorVertCh" val="mid"/>
                <dgm:param type="parTxLTRAlign" val="l"/>
                <dgm:param type="shpTxLTRAlignCh" val="l"/>
                <dgm:param type="parTxRTLAlign" val="r"/>
                <dgm:param type="shpTxRTLAlignCh" val="r"/>
                <dgm:param type="stBulletLvl" val="0"/>
              </dgm:alg>
              <dgm:shape xmlns:r="http://schemas.openxmlformats.org/officeDocument/2006/relationships" type="rect" r:blip="">
                <dgm:adjLst/>
              </dgm:shape>
              <dgm:presOf axis="des" ptType="node"/>
              <dgm:constrLst>
                <dgm:constr type="primFontSz" val="18"/>
                <dgm:constr type="secFontSz" refType="primFontSz"/>
                <dgm:constr type="lMarg" refType="h" fact="0.3"/>
                <dgm:constr type="rMarg" refType="h" fact="0.3"/>
                <dgm:constr type="tMarg" refType="h" fact="0.3"/>
                <dgm:constr type="bMarg" refType="h" fact="0.3"/>
              </dgm:constrLst>
              <dgm:ruleLst>
                <dgm:rule type="primFontSz" val="11" fact="NaN" max="NaN"/>
              </dgm:ruleLst>
            </dgm:layoutNode>
          </dgm:if>
          <dgm:else name="Name14"/>
        </dgm:choose>
      </dgm:layoutNode>
      <dgm:forEach name="Name15" axis="followSib" ptType="sibTrans" cnt="1">
        <dgm:layoutNode name="sibTrans">
          <dgm:alg type="sp"/>
          <dgm:shape xmlns:r="http://schemas.openxmlformats.org/officeDocument/2006/relationships" r:blip="">
            <dgm:adjLst/>
          </dgm:shape>
          <dgm:presOf axis="self"/>
          <dgm:constrLst/>
          <dgm:ruleLst/>
        </dgm:layoutNode>
      </dgm:forEach>
    </dgm:forEach>
  </dgm:layoutNode>
  <dgm:extLst>
    <a:ext uri="{68A01E43-0DF5-4B5B-8FA6-DAF915123BFB}">
      <dgm1612:lstStyle xmlns:dgm1612="http://schemas.microsoft.com/office/drawing/2016/12/diagram">
        <a:lvl1pPr>
          <a:lnSpc>
            <a:spcPct val="100000"/>
          </a:lnSpc>
        </a:lvl1pPr>
        <a:lvl2pPr>
          <a:lnSpc>
            <a:spcPct val="100000"/>
          </a:lnSpc>
        </a:lvl2pPr>
      </dgm1612:lstStyle>
    </a:ext>
  </dgm:extLst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5">
  <dgm:title val=""/>
  <dgm:desc val=""/>
  <dgm:catLst>
    <dgm:cat type="simple" pri="105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1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3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3">
        <a:scrgbClr r="0" g="0" b="0"/>
      </a:fillRef>
      <a:effectRef idx="3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F5276C3A-B39D-48BF-ACE7-3BD9F41DBD8E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4B36B0F-6C38-4FCB-B959-0E013E7AE743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47466383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605515-217B-4C33-B8A8-8EC367486E2C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96356708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Getting aspirin for Senior Leadership’s needs within a timely manner to prepare for informed decision making and external partnerships.</a:t>
            </a:r>
          </a:p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605515-217B-4C33-B8A8-8EC367486E2C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21602910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605515-217B-4C33-B8A8-8EC367486E2C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3696283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CD5DE7C2-70A7-4BC8-BE26-55E828F8E84D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647656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605515-217B-4C33-B8A8-8EC367486E2C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3629271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N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605515-217B-4C33-B8A8-8EC367486E2C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626531430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IN" u="sng" dirty="0">
                <a:cs typeface="Calibri"/>
              </a:rPr>
              <a:t>Acknowledge</a:t>
            </a:r>
            <a:r>
              <a:rPr lang="en-IN" u="none" dirty="0">
                <a:cs typeface="Calibri"/>
              </a:rPr>
              <a:t> what they are saying / </a:t>
            </a:r>
            <a:r>
              <a:rPr lang="en-IN" u="sng" dirty="0">
                <a:cs typeface="Calibri"/>
              </a:rPr>
              <a:t>Inquire</a:t>
            </a:r>
            <a:r>
              <a:rPr lang="en-IN" u="none" dirty="0">
                <a:cs typeface="Calibri"/>
              </a:rPr>
              <a:t> more about what they are asking about / </a:t>
            </a:r>
            <a:r>
              <a:rPr lang="en-IN" u="sng" dirty="0">
                <a:cs typeface="Calibri"/>
              </a:rPr>
              <a:t>Respond &amp; Confirm </a:t>
            </a:r>
            <a:r>
              <a:rPr lang="en-IN" u="none" dirty="0">
                <a:cs typeface="Calibri"/>
              </a:rPr>
              <a:t> (Is that Helpful?)</a:t>
            </a:r>
            <a:endParaRPr lang="en-IN" u="sng" dirty="0">
              <a:cs typeface="Calibri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B0605515-217B-4C33-B8A8-8EC367486E2C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6622962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B8FD20BA-EA42-4CAC-A0F4-C88E1765BC1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E1D071D3-EA61-4FC9-970D-DC1B785E0864}"/>
              </a:ext>
            </a:extLst>
          </p:cNvPr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19C20494-CBBC-45CA-B49E-8ED781D1CC0A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20F351-7090-409A-85B5-1346F6DC4455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602DF9EE-ED16-4D2B-9549-4D0DF18A1B8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CE6C92EA-DDA3-4FDD-BC93-2182EDDAC2D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698CCB-338F-47D6-BF6C-56ACB8444C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20692995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58B10AC-A30B-4644-9DBF-BB3D16B8280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3B5026C0-E291-4FA7-87D6-AA1A76E9FD00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24383F3-E4BE-4E18-92EC-EF4ED9995F01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C720F351-7090-409A-85B5-1346F6DC4455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D4676BB1-F4B2-4AF7-A5A3-5755AA0C2CB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E4D1DB20-0BAF-4664-B294-6D8DA65C09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25698CCB-338F-47D6-BF6C-56ACB8444C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75670091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1.bin"/><Relationship Id="rId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A1C81EE7-F32C-B669-1DAE-F8B3446F2E3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4"/>
            </p:custDataLst>
            <p:extLst>
              <p:ext uri="{D42A27DB-BD31-4B8C-83A1-F6EECF244321}">
                <p14:modId xmlns:p14="http://schemas.microsoft.com/office/powerpoint/2010/main" val="219537261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A1C81EE7-F32C-B669-1DAE-F8B3446F2E3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C7A970DA-F12C-4EC5-AEE6-9E04022A506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008FD170-D4E1-47EE-8BEB-72FFC61F10A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>
            <a:extLst>
              <a:ext uri="{FF2B5EF4-FFF2-40B4-BE49-F238E27FC236}">
                <a16:creationId xmlns:a16="http://schemas.microsoft.com/office/drawing/2014/main" id="{2B8E1C57-A278-43C2-9555-5523A186C3C1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C720F351-7090-409A-85B5-1346F6DC4455}" type="datetimeFigureOut">
              <a:rPr lang="en-US" smtClean="0"/>
              <a:t>1/30/2024</a:t>
            </a:fld>
            <a:endParaRPr lang="en-US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7176EFC5-36AC-44DD-86EB-D6EF614551E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/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3AAE08F-0751-4B0C-92D6-F7855033911E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25698CCB-338F-47D6-BF6C-56ACB8444C1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3196318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49" r:id="rId2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Layout" Target="../slideLayouts/slideLayout2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diagramLayout" Target="../diagrams/layout1.xml"/><Relationship Id="rId3" Type="http://schemas.openxmlformats.org/officeDocument/2006/relationships/notesSlide" Target="../notesSlides/notesSlide1.xml"/><Relationship Id="rId7" Type="http://schemas.openxmlformats.org/officeDocument/2006/relationships/diagramData" Target="../diagrams/data1.xml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4.xml"/><Relationship Id="rId6" Type="http://schemas.openxmlformats.org/officeDocument/2006/relationships/image" Target="../media/image4.png"/><Relationship Id="rId11" Type="http://schemas.microsoft.com/office/2007/relationships/diagramDrawing" Target="../diagrams/drawing1.xml"/><Relationship Id="rId5" Type="http://schemas.openxmlformats.org/officeDocument/2006/relationships/image" Target="../media/image1.emf"/><Relationship Id="rId10" Type="http://schemas.openxmlformats.org/officeDocument/2006/relationships/diagramColors" Target="../diagrams/colors1.xml"/><Relationship Id="rId4" Type="http://schemas.openxmlformats.org/officeDocument/2006/relationships/oleObject" Target="../embeddings/oleObject3.bin"/><Relationship Id="rId9" Type="http://schemas.openxmlformats.org/officeDocument/2006/relationships/diagramQuickStyle" Target="../diagrams/quickStyle1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jpeg"/><Relationship Id="rId2" Type="http://schemas.openxmlformats.org/officeDocument/2006/relationships/hyperlink" Target="http://vinaymerchant.com/" TargetMode="External"/><Relationship Id="rId1" Type="http://schemas.openxmlformats.org/officeDocument/2006/relationships/slideLayout" Target="../slideLayouts/slideLayout2.xml"/><Relationship Id="rId5" Type="http://schemas.openxmlformats.org/officeDocument/2006/relationships/image" Target="../media/image17.jpeg"/><Relationship Id="rId4" Type="http://schemas.openxmlformats.org/officeDocument/2006/relationships/image" Target="../media/image16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2.xml"/><Relationship Id="rId7" Type="http://schemas.openxmlformats.org/officeDocument/2006/relationships/image" Target="../media/image18.pn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5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3.xml"/><Relationship Id="rId7" Type="http://schemas.openxmlformats.org/officeDocument/2006/relationships/image" Target="../media/image19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6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notesSlide" Target="../notesSlides/notesSlide4.xml"/><Relationship Id="rId7" Type="http://schemas.openxmlformats.org/officeDocument/2006/relationships/image" Target="../media/image20.jpeg"/><Relationship Id="rId2" Type="http://schemas.openxmlformats.org/officeDocument/2006/relationships/slideLayout" Target="../slideLayouts/slideLayout1.xml"/><Relationship Id="rId1" Type="http://schemas.openxmlformats.org/officeDocument/2006/relationships/tags" Target="../tags/tag7.xml"/><Relationship Id="rId6" Type="http://schemas.openxmlformats.org/officeDocument/2006/relationships/image" Target="../media/image4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5.png"/><Relationship Id="rId3" Type="http://schemas.openxmlformats.org/officeDocument/2006/relationships/image" Target="../media/image4.png"/><Relationship Id="rId7" Type="http://schemas.openxmlformats.org/officeDocument/2006/relationships/image" Target="../media/image24.svg"/><Relationship Id="rId12" Type="http://schemas.openxmlformats.org/officeDocument/2006/relationships/image" Target="../media/image29.jp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3.png"/><Relationship Id="rId11" Type="http://schemas.openxmlformats.org/officeDocument/2006/relationships/image" Target="../media/image28.svg"/><Relationship Id="rId5" Type="http://schemas.openxmlformats.org/officeDocument/2006/relationships/image" Target="../media/image22.svg"/><Relationship Id="rId10" Type="http://schemas.openxmlformats.org/officeDocument/2006/relationships/image" Target="../media/image27.png"/><Relationship Id="rId4" Type="http://schemas.openxmlformats.org/officeDocument/2006/relationships/image" Target="../media/image21.png"/><Relationship Id="rId9" Type="http://schemas.openxmlformats.org/officeDocument/2006/relationships/image" Target="../media/image26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0.jpg"/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4.png"/><Relationship Id="rId2" Type="http://schemas.openxmlformats.org/officeDocument/2006/relationships/tags" Target="../tags/tag8.xml"/><Relationship Id="rId1" Type="http://schemas.openxmlformats.org/officeDocument/2006/relationships/themeOverride" Target="../theme/themeOverride1.xml"/><Relationship Id="rId6" Type="http://schemas.openxmlformats.org/officeDocument/2006/relationships/image" Target="../media/image1.emf"/><Relationship Id="rId5" Type="http://schemas.openxmlformats.org/officeDocument/2006/relationships/oleObject" Target="../embeddings/oleObject7.bin"/><Relationship Id="rId4" Type="http://schemas.openxmlformats.org/officeDocument/2006/relationships/notesSlide" Target="../notesSlides/notesSlide6.xml"/></Relationships>
</file>

<file path=ppt/slides/_rels/slide9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3AD33B4-F077-889C-EE5D-FDA5B3AE92B9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388613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47" imgH="348" progId="TCLayout.ActiveDocument.1">
                  <p:embed/>
                </p:oleObj>
              </mc:Choice>
              <mc:Fallback>
                <p:oleObj name="think-cell Slide" r:id="rId3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3AD33B4-F077-889C-EE5D-FDA5B3AE92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 descr="Solar panels in field">
            <a:extLst>
              <a:ext uri="{FF2B5EF4-FFF2-40B4-BE49-F238E27FC236}">
                <a16:creationId xmlns:a16="http://schemas.microsoft.com/office/drawing/2014/main" id="{BB17A491-8092-2942-BDE9-EA6FEFFB21BB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2" b="7812"/>
          <a:stretch/>
        </p:blipFill>
        <p:spPr>
          <a:xfrm>
            <a:off x="0" y="0"/>
            <a:ext cx="12191999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C77DDC7C-A6DF-4CCE-AC63-C82E19E0D3F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876661" y="-3771"/>
            <a:ext cx="5277238" cy="643738"/>
          </a:xfrm>
          <a:noFill/>
        </p:spPr>
        <p:txBody>
          <a:bodyPr vert="horz" anchor="b">
            <a:normAutofit/>
          </a:bodyPr>
          <a:lstStyle/>
          <a:p>
            <a:pPr algn="r"/>
            <a:r>
              <a:rPr lang="en-US" sz="3600" b="1" dirty="0"/>
              <a:t>2</a:t>
            </a:r>
            <a:r>
              <a:rPr lang="en-US" sz="3600" b="1" baseline="30000" dirty="0"/>
              <a:t>nd</a:t>
            </a:r>
            <a:r>
              <a:rPr lang="en-US" sz="3600" b="1" dirty="0"/>
              <a:t> Rotation Showcase</a:t>
            </a:r>
          </a:p>
        </p:txBody>
      </p:sp>
      <p:pic>
        <p:nvPicPr>
          <p:cNvPr id="20" name="Picture 2" descr="Xcel Energy: Responsible by Nature">
            <a:extLst>
              <a:ext uri="{FF2B5EF4-FFF2-40B4-BE49-F238E27FC236}">
                <a16:creationId xmlns:a16="http://schemas.microsoft.com/office/drawing/2014/main" id="{2FE2CBA9-6AC7-455B-9F7C-2BA735848D7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384186" y="859147"/>
            <a:ext cx="1769713" cy="3429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6" name="Subtitle 2">
            <a:extLst>
              <a:ext uri="{FF2B5EF4-FFF2-40B4-BE49-F238E27FC236}">
                <a16:creationId xmlns:a16="http://schemas.microsoft.com/office/drawing/2014/main" id="{A3441307-C576-4B4C-A7E0-6E4282951633}"/>
              </a:ext>
            </a:extLst>
          </p:cNvPr>
          <p:cNvSpPr txBox="1">
            <a:spLocks/>
          </p:cNvSpPr>
          <p:nvPr/>
        </p:nvSpPr>
        <p:spPr>
          <a:xfrm>
            <a:off x="38101" y="96942"/>
            <a:ext cx="3798919" cy="46513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l"/>
            <a:r>
              <a:rPr lang="en-US" sz="3600" b="1" dirty="0">
                <a:latin typeface="+mj-lt"/>
              </a:rPr>
              <a:t>Vinay Merchant</a:t>
            </a:r>
          </a:p>
        </p:txBody>
      </p:sp>
      <p:sp>
        <p:nvSpPr>
          <p:cNvPr id="17" name="Subtitle 2">
            <a:extLst>
              <a:ext uri="{FF2B5EF4-FFF2-40B4-BE49-F238E27FC236}">
                <a16:creationId xmlns:a16="http://schemas.microsoft.com/office/drawing/2014/main" id="{4DF9D580-FA04-4885-9484-E160C22D309F}"/>
              </a:ext>
            </a:extLst>
          </p:cNvPr>
          <p:cNvSpPr txBox="1">
            <a:spLocks/>
          </p:cNvSpPr>
          <p:nvPr/>
        </p:nvSpPr>
        <p:spPr>
          <a:xfrm>
            <a:off x="8653150" y="455868"/>
            <a:ext cx="3538849" cy="46513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600" b="1" dirty="0">
                <a:latin typeface="+mj-lt"/>
              </a:rPr>
              <a:t>August 2023 - January 2024</a:t>
            </a:r>
          </a:p>
        </p:txBody>
      </p:sp>
      <p:sp>
        <p:nvSpPr>
          <p:cNvPr id="13" name="Arrow: Pentagon 12">
            <a:extLst>
              <a:ext uri="{FF2B5EF4-FFF2-40B4-BE49-F238E27FC236}">
                <a16:creationId xmlns:a16="http://schemas.microsoft.com/office/drawing/2014/main" id="{1F3C1EC1-551D-DB5D-A919-946888998EEC}"/>
              </a:ext>
            </a:extLst>
          </p:cNvPr>
          <p:cNvSpPr/>
          <p:nvPr/>
        </p:nvSpPr>
        <p:spPr>
          <a:xfrm>
            <a:off x="-1" y="5571442"/>
            <a:ext cx="12192000" cy="724477"/>
          </a:xfrm>
          <a:prstGeom prst="homePlate">
            <a:avLst>
              <a:gd name="adj" fmla="val 66703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l"/>
            <a:r>
              <a:rPr lang="en-US" sz="2800" b="1" dirty="0">
                <a:solidFill>
                  <a:schemeClr val="bg1"/>
                </a:solidFill>
                <a:latin typeface="+mj-lt"/>
              </a:rPr>
              <a:t>Project Management Office &amp; One Way Office</a:t>
            </a:r>
          </a:p>
        </p:txBody>
      </p:sp>
    </p:spTree>
    <p:extLst>
      <p:ext uri="{BB962C8B-B14F-4D97-AF65-F5344CB8AC3E}">
        <p14:creationId xmlns:p14="http://schemas.microsoft.com/office/powerpoint/2010/main" val="848726867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29821211-17FE-87E9-551C-AF38D5AA9D9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049632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8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9821211-17FE-87E9-551C-AF38D5AA9D9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Arrow: Pentagon 3">
            <a:extLst>
              <a:ext uri="{FF2B5EF4-FFF2-40B4-BE49-F238E27FC236}">
                <a16:creationId xmlns:a16="http://schemas.microsoft.com/office/drawing/2014/main" id="{A083D5DB-2328-46CB-9E58-12C11F286D24}"/>
              </a:ext>
            </a:extLst>
          </p:cNvPr>
          <p:cNvSpPr/>
          <p:nvPr/>
        </p:nvSpPr>
        <p:spPr>
          <a:xfrm>
            <a:off x="-10996" y="316865"/>
            <a:ext cx="9909595" cy="608535"/>
          </a:xfrm>
          <a:prstGeom prst="homePlate">
            <a:avLst>
              <a:gd name="adj" fmla="val 66703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26F66C-8B72-421B-9AC6-13AA752E3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285946"/>
            <a:ext cx="9403301" cy="673562"/>
          </a:xfrm>
        </p:spPr>
        <p:txBody>
          <a:bodyPr vert="horz">
            <a:normAutofit fontScale="90000"/>
          </a:bodyPr>
          <a:lstStyle/>
          <a:p>
            <a:r>
              <a:rPr lang="en-US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genda</a:t>
            </a:r>
            <a:r>
              <a:rPr lang="en-US" sz="32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5" name="Picture 2" descr="Xcel Energy: Responsible by Nature">
            <a:extLst>
              <a:ext uri="{FF2B5EF4-FFF2-40B4-BE49-F238E27FC236}">
                <a16:creationId xmlns:a16="http://schemas.microsoft.com/office/drawing/2014/main" id="{214F8DBC-B5EF-4B93-B438-5DAAD54ADA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2287" y="66675"/>
            <a:ext cx="1769713" cy="342900"/>
          </a:xfrm>
          <a:prstGeom prst="rect">
            <a:avLst/>
          </a:prstGeom>
          <a:noFill/>
        </p:spPr>
      </p:pic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857FC011-03A6-4DF8-9218-A74B3F61C1A6}"/>
              </a:ext>
            </a:extLst>
          </p:cNvPr>
          <p:cNvSpPr txBox="1">
            <a:spLocks/>
          </p:cNvSpPr>
          <p:nvPr/>
        </p:nvSpPr>
        <p:spPr>
          <a:xfrm>
            <a:off x="75663" y="6592724"/>
            <a:ext cx="3359746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© 2024 Xcel Energy</a:t>
            </a:r>
          </a:p>
        </p:txBody>
      </p:sp>
      <p:graphicFrame>
        <p:nvGraphicFramePr>
          <p:cNvPr id="16" name="Diagram 15">
            <a:extLst>
              <a:ext uri="{FF2B5EF4-FFF2-40B4-BE49-F238E27FC236}">
                <a16:creationId xmlns:a16="http://schemas.microsoft.com/office/drawing/2014/main" id="{6F24E904-61D1-49B1-A696-DA348D5C7D6A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046579899"/>
              </p:ext>
            </p:extLst>
          </p:nvPr>
        </p:nvGraphicFramePr>
        <p:xfrm>
          <a:off x="223129" y="1073426"/>
          <a:ext cx="11745742" cy="546770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7" r:lo="rId8" r:qs="rId9" r:cs="rId10"/>
          </a:graphicData>
        </a:graphic>
      </p:graphicFrame>
    </p:spTree>
    <p:extLst>
      <p:ext uri="{BB962C8B-B14F-4D97-AF65-F5344CB8AC3E}">
        <p14:creationId xmlns:p14="http://schemas.microsoft.com/office/powerpoint/2010/main" val="136977009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extBox 7">
            <a:extLst>
              <a:ext uri="{FF2B5EF4-FFF2-40B4-BE49-F238E27FC236}">
                <a16:creationId xmlns:a16="http://schemas.microsoft.com/office/drawing/2014/main" id="{8F18F444-A400-D825-178F-188CC00D02AE}"/>
              </a:ext>
            </a:extLst>
          </p:cNvPr>
          <p:cNvSpPr txBox="1"/>
          <p:nvPr/>
        </p:nvSpPr>
        <p:spPr>
          <a:xfrm>
            <a:off x="247113" y="787138"/>
            <a:ext cx="7775589" cy="5632311"/>
          </a:xfrm>
          <a:prstGeom prst="rect">
            <a:avLst/>
          </a:prstGeom>
          <a:noFill/>
        </p:spPr>
        <p:txBody>
          <a:bodyPr rot="0" spcFirstLastPara="0" vertOverflow="overflow" horzOverflow="overflow" vert="horz" wrap="square" lIns="91440" tIns="45720" rIns="91440" bIns="45720" numCol="1" spcCol="0" rtlCol="0" fromWordArt="0" anchor="t" anchorCtr="0" forceAA="0" compatLnSpc="1">
            <a:prstTxWarp prst="textNoShape">
              <a:avLst/>
            </a:prstTxWarp>
            <a:spAutoFit/>
          </a:bodyPr>
          <a:lstStyle/>
          <a:p>
            <a:pPr marL="285750" indent="-285750">
              <a:buFont typeface="Wingdings"/>
              <a:buChar char="Ø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Origins: Gujarat, India </a:t>
            </a:r>
          </a:p>
          <a:p>
            <a:pPr marL="742950" lvl="1" indent="-285750">
              <a:buFont typeface="Calibri"/>
              <a:buChar char="-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Born &amp; Raised in Colorful Colorado</a:t>
            </a:r>
          </a:p>
          <a:p>
            <a:pPr marL="742950" lvl="1" indent="-285750">
              <a:buFont typeface="Calibri"/>
              <a:buChar char="-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Siblings: 2 older sisters</a:t>
            </a:r>
          </a:p>
          <a:p>
            <a:pPr marL="742950" lvl="1" indent="-285750">
              <a:buFont typeface="Calibri"/>
              <a:buChar char="-"/>
            </a:pP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/>
              <a:buChar char="Ø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Omaha, Nebraska (2018-2022)</a:t>
            </a:r>
          </a:p>
          <a:p>
            <a:pPr marL="742950" lvl="1" indent="-285750">
              <a:buFont typeface="Calibri"/>
              <a:buChar char="-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BSBA: Social Entrepreneurship &amp; Marketing</a:t>
            </a:r>
          </a:p>
          <a:p>
            <a:pPr marL="742950" lvl="1" indent="-285750">
              <a:buFont typeface="Calibri"/>
              <a:buChar char="-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Global Partners in Hope: International Non-Profit</a:t>
            </a:r>
          </a:p>
          <a:p>
            <a:pPr marL="285750" indent="-285750">
              <a:buFont typeface="Wingdings"/>
              <a:buChar char="Ø"/>
            </a:pP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/>
              <a:buChar char="Ø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Denver, Colorado</a:t>
            </a:r>
          </a:p>
          <a:p>
            <a:pPr marL="742950" lvl="1" indent="-285750">
              <a:buFont typeface="Calibri"/>
              <a:buChar char="-"/>
            </a:pPr>
            <a:r>
              <a:rPr lang="en-US" sz="2000" b="1">
                <a:latin typeface="Arial" panose="020B0604020202020204" pitchFamily="34" charset="0"/>
                <a:cs typeface="Arial" panose="020B0604020202020204" pitchFamily="34" charset="0"/>
              </a:rPr>
              <a:t>Post-College Crisis </a:t>
            </a:r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742950" lvl="1" indent="-285750">
              <a:buFont typeface="Calibri"/>
              <a:buChar char="-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DU Masters: Organizational Leadership</a:t>
            </a:r>
          </a:p>
          <a:p>
            <a:pPr lvl="1"/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buFont typeface="Wingdings"/>
              <a:buChar char="Ø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Xcel Energy (June 2022 - Current)</a:t>
            </a:r>
          </a:p>
          <a:p>
            <a:pPr marL="742950" lvl="1" indent="-285750">
              <a:buFont typeface="Calibri"/>
              <a:buChar char="-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Choice and Renewable Programs: CO Solar Team</a:t>
            </a:r>
          </a:p>
          <a:p>
            <a:pPr marL="742950" lvl="1" indent="-285750">
              <a:buFont typeface="Calibri"/>
              <a:buChar char="-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  <a:r>
              <a:rPr lang="en-US" sz="2000" b="1" baseline="30000" dirty="0">
                <a:latin typeface="Arial" panose="020B0604020202020204" pitchFamily="34" charset="0"/>
                <a:cs typeface="Arial" panose="020B0604020202020204" pitchFamily="34" charset="0"/>
              </a:rPr>
              <a:t>st</a:t>
            </a: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 Rotation: Clean Transportation with Jonathan Bach</a:t>
            </a:r>
          </a:p>
          <a:p>
            <a:pPr lvl="1"/>
            <a:endParaRPr lang="en-US" sz="2000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342900" indent="-342900">
              <a:buFont typeface="Wingdings"/>
              <a:buChar char="Ø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</a:rPr>
              <a:t>Fun fact: I own my own website/domain</a:t>
            </a:r>
          </a:p>
          <a:p>
            <a:pPr marL="742950" lvl="1" indent="-285750">
              <a:buFont typeface="Calibri,Sans-Serif"/>
              <a:buChar char="-"/>
            </a:pPr>
            <a:r>
              <a:rPr lang="en-US" sz="2000" b="1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vinaymerchant.com</a:t>
            </a:r>
          </a:p>
        </p:txBody>
      </p:sp>
      <p:pic>
        <p:nvPicPr>
          <p:cNvPr id="5" name="Picture 5">
            <a:extLst>
              <a:ext uri="{FF2B5EF4-FFF2-40B4-BE49-F238E27FC236}">
                <a16:creationId xmlns:a16="http://schemas.microsoft.com/office/drawing/2014/main" id="{899949FF-F998-70BA-D9BA-CA2AA247E266}"/>
              </a:ext>
            </a:extLst>
          </p:cNvPr>
          <p:cNvPicPr>
            <a:picLocks noChangeAspect="1"/>
          </p:cNvPicPr>
          <p:nvPr/>
        </p:nvPicPr>
        <p:blipFill rotWithShape="1">
          <a:blip r:embed="rId3"/>
          <a:srcRect l="22210" r="21540" b="1"/>
          <a:stretch/>
        </p:blipFill>
        <p:spPr>
          <a:xfrm>
            <a:off x="9250141" y="112794"/>
            <a:ext cx="2849586" cy="2849586"/>
          </a:xfrm>
          <a:custGeom>
            <a:avLst/>
            <a:gdLst/>
            <a:ahLst/>
            <a:cxnLst/>
            <a:rect l="l" t="t" r="r" b="b"/>
            <a:pathLst>
              <a:path w="2849586" h="2849586">
                <a:moveTo>
                  <a:pt x="1424793" y="0"/>
                </a:moveTo>
                <a:cubicBezTo>
                  <a:pt x="2211684" y="0"/>
                  <a:pt x="2849586" y="637902"/>
                  <a:pt x="2849586" y="1424793"/>
                </a:cubicBezTo>
                <a:cubicBezTo>
                  <a:pt x="2849586" y="2211684"/>
                  <a:pt x="2211684" y="2849586"/>
                  <a:pt x="1424793" y="2849586"/>
                </a:cubicBezTo>
                <a:cubicBezTo>
                  <a:pt x="637902" y="2849586"/>
                  <a:pt x="0" y="2211684"/>
                  <a:pt x="0" y="1424793"/>
                </a:cubicBezTo>
                <a:cubicBezTo>
                  <a:pt x="0" y="637902"/>
                  <a:pt x="637902" y="0"/>
                  <a:pt x="1424793" y="0"/>
                </a:cubicBezTo>
                <a:close/>
              </a:path>
            </a:pathLst>
          </a:custGeom>
        </p:spPr>
      </p:pic>
      <p:pic>
        <p:nvPicPr>
          <p:cNvPr id="6" name="Picture 6" descr="A group of people posing for the camera&#10;&#10;Description automatically generated">
            <a:extLst>
              <a:ext uri="{FF2B5EF4-FFF2-40B4-BE49-F238E27FC236}">
                <a16:creationId xmlns:a16="http://schemas.microsoft.com/office/drawing/2014/main" id="{1688C5A7-3726-AA56-5F3B-D5CCE5BB065F}"/>
              </a:ext>
            </a:extLst>
          </p:cNvPr>
          <p:cNvPicPr>
            <a:picLocks noChangeAspect="1"/>
          </p:cNvPicPr>
          <p:nvPr/>
        </p:nvPicPr>
        <p:blipFill rotWithShape="1">
          <a:blip r:embed="rId4"/>
          <a:srcRect l="15301" r="17952" b="4"/>
          <a:stretch/>
        </p:blipFill>
        <p:spPr>
          <a:xfrm>
            <a:off x="7253259" y="2004207"/>
            <a:ext cx="2849586" cy="2849586"/>
          </a:xfrm>
          <a:custGeom>
            <a:avLst/>
            <a:gdLst/>
            <a:ahLst/>
            <a:cxnLst/>
            <a:rect l="l" t="t" r="r" b="b"/>
            <a:pathLst>
              <a:path w="2849586" h="2849586">
                <a:moveTo>
                  <a:pt x="1424793" y="0"/>
                </a:moveTo>
                <a:cubicBezTo>
                  <a:pt x="2211684" y="0"/>
                  <a:pt x="2849586" y="637902"/>
                  <a:pt x="2849586" y="1424793"/>
                </a:cubicBezTo>
                <a:cubicBezTo>
                  <a:pt x="2849586" y="2211684"/>
                  <a:pt x="2211684" y="2849586"/>
                  <a:pt x="1424793" y="2849586"/>
                </a:cubicBezTo>
                <a:cubicBezTo>
                  <a:pt x="637902" y="2849586"/>
                  <a:pt x="0" y="2211684"/>
                  <a:pt x="0" y="1424793"/>
                </a:cubicBezTo>
                <a:cubicBezTo>
                  <a:pt x="0" y="637902"/>
                  <a:pt x="637902" y="0"/>
                  <a:pt x="1424793" y="0"/>
                </a:cubicBezTo>
                <a:close/>
              </a:path>
            </a:pathLst>
          </a:custGeom>
        </p:spPr>
      </p:pic>
      <p:pic>
        <p:nvPicPr>
          <p:cNvPr id="4" name="Picture 4">
            <a:extLst>
              <a:ext uri="{FF2B5EF4-FFF2-40B4-BE49-F238E27FC236}">
                <a16:creationId xmlns:a16="http://schemas.microsoft.com/office/drawing/2014/main" id="{FC8F7F45-7055-964A-3697-B1F156302A8F}"/>
              </a:ext>
            </a:extLst>
          </p:cNvPr>
          <p:cNvPicPr>
            <a:picLocks noChangeAspect="1"/>
          </p:cNvPicPr>
          <p:nvPr/>
        </p:nvPicPr>
        <p:blipFill rotWithShape="1">
          <a:blip r:embed="rId5"/>
          <a:srcRect l="10893" r="13856" b="-1"/>
          <a:stretch/>
        </p:blipFill>
        <p:spPr>
          <a:xfrm>
            <a:off x="9250141" y="3920553"/>
            <a:ext cx="2849586" cy="2849586"/>
          </a:xfrm>
          <a:custGeom>
            <a:avLst/>
            <a:gdLst/>
            <a:ahLst/>
            <a:cxnLst/>
            <a:rect l="l" t="t" r="r" b="b"/>
            <a:pathLst>
              <a:path w="2849586" h="2849586">
                <a:moveTo>
                  <a:pt x="1424793" y="0"/>
                </a:moveTo>
                <a:cubicBezTo>
                  <a:pt x="2211684" y="0"/>
                  <a:pt x="2849586" y="637902"/>
                  <a:pt x="2849586" y="1424793"/>
                </a:cubicBezTo>
                <a:cubicBezTo>
                  <a:pt x="2849586" y="2211684"/>
                  <a:pt x="2211684" y="2849586"/>
                  <a:pt x="1424793" y="2849586"/>
                </a:cubicBezTo>
                <a:cubicBezTo>
                  <a:pt x="637902" y="2849586"/>
                  <a:pt x="0" y="2211684"/>
                  <a:pt x="0" y="1424793"/>
                </a:cubicBezTo>
                <a:cubicBezTo>
                  <a:pt x="0" y="637902"/>
                  <a:pt x="637902" y="0"/>
                  <a:pt x="1424793" y="0"/>
                </a:cubicBezTo>
                <a:close/>
              </a:path>
            </a:pathLst>
          </a:custGeom>
        </p:spPr>
      </p:pic>
      <p:sp>
        <p:nvSpPr>
          <p:cNvPr id="7" name="Arrow: Pentagon 6">
            <a:extLst>
              <a:ext uri="{FF2B5EF4-FFF2-40B4-BE49-F238E27FC236}">
                <a16:creationId xmlns:a16="http://schemas.microsoft.com/office/drawing/2014/main" id="{1CF3A130-9335-4264-94A3-2C774A7A29C7}"/>
              </a:ext>
            </a:extLst>
          </p:cNvPr>
          <p:cNvSpPr/>
          <p:nvPr/>
        </p:nvSpPr>
        <p:spPr>
          <a:xfrm>
            <a:off x="0" y="87861"/>
            <a:ext cx="9418765" cy="608535"/>
          </a:xfrm>
          <a:prstGeom prst="homePlate">
            <a:avLst>
              <a:gd name="adj" fmla="val 66703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3600" b="1" dirty="0">
                <a:latin typeface="Arial" panose="020B0604020202020204" pitchFamily="34" charset="0"/>
                <a:cs typeface="Arial" panose="020B0604020202020204" pitchFamily="34" charset="0"/>
              </a:rPr>
              <a:t>Vinay “Vee-nay” Merchant   	  aka V</a:t>
            </a:r>
          </a:p>
        </p:txBody>
      </p:sp>
    </p:spTree>
    <p:extLst>
      <p:ext uri="{BB962C8B-B14F-4D97-AF65-F5344CB8AC3E}">
        <p14:creationId xmlns:p14="http://schemas.microsoft.com/office/powerpoint/2010/main" val="109857222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16BD264B-AAE1-E613-DBA9-BBDE6B2C37C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282477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6BD264B-AAE1-E613-DBA9-BBDE6B2C37C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109C3627-C828-4DE1-AD15-2A065D8AF6D2}"/>
              </a:ext>
            </a:extLst>
          </p:cNvPr>
          <p:cNvSpPr/>
          <p:nvPr/>
        </p:nvSpPr>
        <p:spPr>
          <a:xfrm>
            <a:off x="198442" y="1066828"/>
            <a:ext cx="11688758" cy="257821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CAC123C-F3E0-43E8-A4F0-EDC8BFC469AE}"/>
              </a:ext>
            </a:extLst>
          </p:cNvPr>
          <p:cNvSpPr/>
          <p:nvPr/>
        </p:nvSpPr>
        <p:spPr>
          <a:xfrm>
            <a:off x="7006746" y="1157507"/>
            <a:ext cx="2093009" cy="3943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A083D5DB-2328-46CB-9E58-12C11F286D24}"/>
              </a:ext>
            </a:extLst>
          </p:cNvPr>
          <p:cNvSpPr/>
          <p:nvPr/>
        </p:nvSpPr>
        <p:spPr>
          <a:xfrm>
            <a:off x="-10996" y="316865"/>
            <a:ext cx="9909595" cy="608535"/>
          </a:xfrm>
          <a:prstGeom prst="homePlate">
            <a:avLst>
              <a:gd name="adj" fmla="val 66703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26F66C-8B72-421B-9AC6-13AA752E3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275" y="344160"/>
            <a:ext cx="10515600" cy="537803"/>
          </a:xfrm>
        </p:spPr>
        <p:txBody>
          <a:bodyPr vert="horz">
            <a:no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Xcel Energy Way</a:t>
            </a:r>
          </a:p>
        </p:txBody>
      </p:sp>
      <p:pic>
        <p:nvPicPr>
          <p:cNvPr id="5" name="Picture 2" descr="Xcel Energy: Responsible by Nature">
            <a:extLst>
              <a:ext uri="{FF2B5EF4-FFF2-40B4-BE49-F238E27FC236}">
                <a16:creationId xmlns:a16="http://schemas.microsoft.com/office/drawing/2014/main" id="{214F8DBC-B5EF-4B93-B438-5DAAD54ADA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2287" y="66675"/>
            <a:ext cx="1769713" cy="342900"/>
          </a:xfrm>
          <a:prstGeom prst="rect">
            <a:avLst/>
          </a:prstGeom>
          <a:noFill/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1979BA72-0EA7-49C3-9C90-BB1612EABA5B}"/>
              </a:ext>
            </a:extLst>
          </p:cNvPr>
          <p:cNvSpPr/>
          <p:nvPr/>
        </p:nvSpPr>
        <p:spPr>
          <a:xfrm>
            <a:off x="198442" y="3829643"/>
            <a:ext cx="11688758" cy="268419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Footer Placeholder 3">
            <a:extLst>
              <a:ext uri="{FF2B5EF4-FFF2-40B4-BE49-F238E27FC236}">
                <a16:creationId xmlns:a16="http://schemas.microsoft.com/office/drawing/2014/main" id="{337F2F13-4608-4B30-96D7-9B18F80F1B3E}"/>
              </a:ext>
            </a:extLst>
          </p:cNvPr>
          <p:cNvSpPr txBox="1">
            <a:spLocks/>
          </p:cNvSpPr>
          <p:nvPr/>
        </p:nvSpPr>
        <p:spPr>
          <a:xfrm>
            <a:off x="75663" y="6592724"/>
            <a:ext cx="26445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© 2024 Xcel Energy</a:t>
            </a:r>
          </a:p>
        </p:txBody>
      </p:sp>
      <p:sp>
        <p:nvSpPr>
          <p:cNvPr id="49" name="Rectangle 48">
            <a:extLst>
              <a:ext uri="{FF2B5EF4-FFF2-40B4-BE49-F238E27FC236}">
                <a16:creationId xmlns:a16="http://schemas.microsoft.com/office/drawing/2014/main" id="{9EE4A54D-D34A-48AB-AFDA-4D288EF47F05}"/>
              </a:ext>
            </a:extLst>
          </p:cNvPr>
          <p:cNvSpPr/>
          <p:nvPr/>
        </p:nvSpPr>
        <p:spPr>
          <a:xfrm>
            <a:off x="221300" y="1157726"/>
            <a:ext cx="11460800" cy="231473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b="1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ontinued from LBS PPS Training</a:t>
            </a:r>
          </a:p>
          <a:p>
            <a:pPr marL="285750" indent="-285750">
              <a:lnSpc>
                <a:spcPct val="200000"/>
              </a:lnSpc>
              <a:spcAft>
                <a:spcPts val="600"/>
              </a:spcAft>
              <a:buFontTx/>
              <a:buChar char="-"/>
            </a:pPr>
            <a:r>
              <a:rPr lang="en-US" b="1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ier 3 LBS Training &amp; Application of Teachings </a:t>
            </a:r>
          </a:p>
          <a:p>
            <a:pPr marL="285750" indent="-285750">
              <a:lnSpc>
                <a:spcPct val="200000"/>
              </a:lnSpc>
              <a:spcAft>
                <a:spcPts val="600"/>
              </a:spcAft>
              <a:buFontTx/>
              <a:buChar char="-"/>
            </a:pPr>
            <a:r>
              <a:rPr lang="en-US" b="1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ne Way Standard for Operating Reviews</a:t>
            </a:r>
          </a:p>
          <a:p>
            <a:pPr marL="285750" indent="-285750">
              <a:lnSpc>
                <a:spcPct val="200000"/>
              </a:lnSpc>
              <a:spcAft>
                <a:spcPts val="600"/>
              </a:spcAft>
              <a:buFontTx/>
              <a:buChar char="-"/>
            </a:pPr>
            <a:r>
              <a:rPr lang="en-US" b="1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liminating Waste &amp; Standardizing Work</a:t>
            </a:r>
          </a:p>
        </p:txBody>
      </p:sp>
      <p:sp>
        <p:nvSpPr>
          <p:cNvPr id="50" name="Rectangle 49">
            <a:extLst>
              <a:ext uri="{FF2B5EF4-FFF2-40B4-BE49-F238E27FC236}">
                <a16:creationId xmlns:a16="http://schemas.microsoft.com/office/drawing/2014/main" id="{80FAB1BF-6CF3-4502-AB00-CC0024743264}"/>
              </a:ext>
            </a:extLst>
          </p:cNvPr>
          <p:cNvSpPr/>
          <p:nvPr/>
        </p:nvSpPr>
        <p:spPr>
          <a:xfrm>
            <a:off x="323850" y="3932965"/>
            <a:ext cx="11460800" cy="249299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u="sng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Value: 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vides training and methods to apply innovative thinking and standardization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Establishes a regular review cadence and reporting standard</a:t>
            </a:r>
          </a:p>
          <a:p>
            <a:pPr marL="285750" indent="-285750">
              <a:spcAft>
                <a:spcPts val="600"/>
              </a:spcAft>
              <a:buFontTx/>
              <a:buChar char="-"/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Interconnects various business areas and units for collaboration </a:t>
            </a:r>
            <a:endParaRPr lang="en-US" b="1" u="sng" dirty="0">
              <a:solidFill>
                <a:srgbClr val="3C3C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endParaRPr lang="en-US" b="1" u="sng" dirty="0">
              <a:solidFill>
                <a:srgbClr val="3C3C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>
              <a:spcAft>
                <a:spcPts val="600"/>
              </a:spcAft>
            </a:pPr>
            <a:r>
              <a:rPr lang="en-US" b="1" u="sng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y Role / Impact: </a:t>
            </a:r>
          </a:p>
          <a:p>
            <a:pPr>
              <a:spcAft>
                <a:spcPts val="600"/>
              </a:spcAft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pplication of Training in Rally Rooms &amp; Identifying Barriers to Change for Various Groups </a:t>
            </a:r>
          </a:p>
        </p:txBody>
      </p:sp>
      <p:pic>
        <p:nvPicPr>
          <p:cNvPr id="11" name="Picture 10">
            <a:extLst>
              <a:ext uri="{FF2B5EF4-FFF2-40B4-BE49-F238E27FC236}">
                <a16:creationId xmlns:a16="http://schemas.microsoft.com/office/drawing/2014/main" id="{589CE2F6-42BC-258E-7819-CAF1E15BB098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8216469" y="1045819"/>
            <a:ext cx="3729915" cy="273216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8388076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6A7E1DA4-E2CD-9992-BFE2-251B193893EF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4339691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7E1DA4-E2CD-9992-BFE2-251B193893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9" name="Rectangle 18">
            <a:extLst>
              <a:ext uri="{FF2B5EF4-FFF2-40B4-BE49-F238E27FC236}">
                <a16:creationId xmlns:a16="http://schemas.microsoft.com/office/drawing/2014/main" id="{109C3627-C828-4DE1-AD15-2A065D8AF6D2}"/>
              </a:ext>
            </a:extLst>
          </p:cNvPr>
          <p:cNvSpPr/>
          <p:nvPr/>
        </p:nvSpPr>
        <p:spPr>
          <a:xfrm>
            <a:off x="198442" y="1066828"/>
            <a:ext cx="11688758" cy="257821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ECAC123C-F3E0-43E8-A4F0-EDC8BFC469AE}"/>
              </a:ext>
            </a:extLst>
          </p:cNvPr>
          <p:cNvSpPr/>
          <p:nvPr/>
        </p:nvSpPr>
        <p:spPr>
          <a:xfrm>
            <a:off x="7006746" y="1157507"/>
            <a:ext cx="2093009" cy="394397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N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Arrow: Pentagon 3">
            <a:extLst>
              <a:ext uri="{FF2B5EF4-FFF2-40B4-BE49-F238E27FC236}">
                <a16:creationId xmlns:a16="http://schemas.microsoft.com/office/drawing/2014/main" id="{A083D5DB-2328-46CB-9E58-12C11F286D24}"/>
              </a:ext>
            </a:extLst>
          </p:cNvPr>
          <p:cNvSpPr/>
          <p:nvPr/>
        </p:nvSpPr>
        <p:spPr>
          <a:xfrm>
            <a:off x="-10996" y="316865"/>
            <a:ext cx="9909595" cy="608535"/>
          </a:xfrm>
          <a:prstGeom prst="homePlate">
            <a:avLst>
              <a:gd name="adj" fmla="val 66703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26F66C-8B72-421B-9AC6-13AA752E3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95275" y="344160"/>
            <a:ext cx="10515600" cy="537803"/>
          </a:xfrm>
        </p:spPr>
        <p:txBody>
          <a:bodyPr vert="horz">
            <a:no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hat is a Rally Room?</a:t>
            </a:r>
          </a:p>
        </p:txBody>
      </p:sp>
      <p:pic>
        <p:nvPicPr>
          <p:cNvPr id="5" name="Picture 2" descr="Xcel Energy: Responsible by Nature">
            <a:extLst>
              <a:ext uri="{FF2B5EF4-FFF2-40B4-BE49-F238E27FC236}">
                <a16:creationId xmlns:a16="http://schemas.microsoft.com/office/drawing/2014/main" id="{214F8DBC-B5EF-4B93-B438-5DAAD54ADA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2287" y="66675"/>
            <a:ext cx="1769713" cy="342900"/>
          </a:xfrm>
          <a:prstGeom prst="rect">
            <a:avLst/>
          </a:prstGeom>
          <a:noFill/>
        </p:spPr>
      </p:pic>
      <p:sp>
        <p:nvSpPr>
          <p:cNvPr id="30" name="Rectangle 29">
            <a:extLst>
              <a:ext uri="{FF2B5EF4-FFF2-40B4-BE49-F238E27FC236}">
                <a16:creationId xmlns:a16="http://schemas.microsoft.com/office/drawing/2014/main" id="{1979BA72-0EA7-49C3-9C90-BB1612EABA5B}"/>
              </a:ext>
            </a:extLst>
          </p:cNvPr>
          <p:cNvSpPr/>
          <p:nvPr/>
        </p:nvSpPr>
        <p:spPr>
          <a:xfrm>
            <a:off x="198442" y="3829643"/>
            <a:ext cx="11688758" cy="268419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7" name="Footer Placeholder 3">
            <a:extLst>
              <a:ext uri="{FF2B5EF4-FFF2-40B4-BE49-F238E27FC236}">
                <a16:creationId xmlns:a16="http://schemas.microsoft.com/office/drawing/2014/main" id="{337F2F13-4608-4B30-96D7-9B18F80F1B3E}"/>
              </a:ext>
            </a:extLst>
          </p:cNvPr>
          <p:cNvSpPr txBox="1">
            <a:spLocks/>
          </p:cNvSpPr>
          <p:nvPr/>
        </p:nvSpPr>
        <p:spPr>
          <a:xfrm>
            <a:off x="75663" y="6592724"/>
            <a:ext cx="26445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© 2024 Xcel Energy</a:t>
            </a: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2761E49-4239-4522-923A-921DBF66F1AB}"/>
              </a:ext>
            </a:extLst>
          </p:cNvPr>
          <p:cNvSpPr txBox="1"/>
          <p:nvPr/>
        </p:nvSpPr>
        <p:spPr>
          <a:xfrm>
            <a:off x="419877" y="1235144"/>
            <a:ext cx="740705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en-US" b="1" dirty="0"/>
              <a:t>“ A command center that brings together cross-functional leaders and teams to rally/manage a key objective or theme.”</a:t>
            </a:r>
          </a:p>
          <a:p>
            <a:endParaRPr lang="en-US" b="1" dirty="0"/>
          </a:p>
          <a:p>
            <a:r>
              <a:rPr lang="en-US" b="1" u="sng" dirty="0"/>
              <a:t>Desired Results:</a:t>
            </a:r>
          </a:p>
          <a:p>
            <a:endParaRPr lang="en-US" b="1" u="sng" dirty="0"/>
          </a:p>
          <a:p>
            <a:pPr marL="285750" indent="-285750">
              <a:buFontTx/>
              <a:buChar char="-"/>
            </a:pPr>
            <a:r>
              <a:rPr lang="en-US" dirty="0"/>
              <a:t>Visual Management for the Scope of the Work</a:t>
            </a:r>
          </a:p>
          <a:p>
            <a:pPr marL="285750" indent="-285750">
              <a:buFontTx/>
              <a:buChar char="-"/>
            </a:pPr>
            <a:r>
              <a:rPr lang="en-US" dirty="0"/>
              <a:t>Clear Role Responsibilities and Work Streams</a:t>
            </a:r>
          </a:p>
          <a:p>
            <a:pPr marL="285750" indent="-285750">
              <a:buFontTx/>
              <a:buChar char="-"/>
            </a:pPr>
            <a:r>
              <a:rPr lang="en-US" dirty="0"/>
              <a:t>Measurement of Key Performance Indicators</a:t>
            </a:r>
          </a:p>
          <a:p>
            <a:endParaRPr lang="en-US" dirty="0"/>
          </a:p>
        </p:txBody>
      </p:sp>
      <p:sp>
        <p:nvSpPr>
          <p:cNvPr id="12" name="TextBox 11">
            <a:extLst>
              <a:ext uri="{FF2B5EF4-FFF2-40B4-BE49-F238E27FC236}">
                <a16:creationId xmlns:a16="http://schemas.microsoft.com/office/drawing/2014/main" id="{7C92AA62-1AC4-421E-98E1-493677DAF98B}"/>
              </a:ext>
            </a:extLst>
          </p:cNvPr>
          <p:cNvSpPr txBox="1"/>
          <p:nvPr/>
        </p:nvSpPr>
        <p:spPr>
          <a:xfrm>
            <a:off x="395632" y="3934966"/>
            <a:ext cx="11376491" cy="258532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My Role: </a:t>
            </a:r>
          </a:p>
          <a:p>
            <a:endParaRPr lang="en-US" b="1" u="sng" dirty="0"/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dirty="0"/>
              <a:t>Create and/or Present Weekly Operating Review Slides + Agenda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dirty="0"/>
              <a:t>Manage Meeting Notes, Attendance, and the Roster of the Operational Reviews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dirty="0"/>
              <a:t>Schedule Necessary Follow-Up Meetings and Keep Meeting Notes</a:t>
            </a:r>
            <a:endParaRPr lang="en-US" b="1" dirty="0"/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dirty="0"/>
              <a:t>Aid in Tactical Implementation Plan development and Project Management</a:t>
            </a:r>
          </a:p>
          <a:p>
            <a:r>
              <a:rPr lang="en-US" dirty="0"/>
              <a:t>  </a:t>
            </a:r>
          </a:p>
        </p:txBody>
      </p:sp>
      <p:pic>
        <p:nvPicPr>
          <p:cNvPr id="1026" name="Picture 2" descr="Image">
            <a:extLst>
              <a:ext uri="{FF2B5EF4-FFF2-40B4-BE49-F238E27FC236}">
                <a16:creationId xmlns:a16="http://schemas.microsoft.com/office/drawing/2014/main" id="{97748D81-C8BB-712A-E4BB-76D1B1026DD7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35517"/>
          <a:stretch/>
        </p:blipFill>
        <p:spPr bwMode="auto">
          <a:xfrm>
            <a:off x="7867261" y="1109999"/>
            <a:ext cx="3979606" cy="34215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8552BAA1-1F6C-D763-58F0-72685EC8D6C8}"/>
              </a:ext>
            </a:extLst>
          </p:cNvPr>
          <p:cNvCxnSpPr>
            <a:cxnSpLocks/>
          </p:cNvCxnSpPr>
          <p:nvPr/>
        </p:nvCxnSpPr>
        <p:spPr>
          <a:xfrm flipH="1">
            <a:off x="9735612" y="925400"/>
            <a:ext cx="686675" cy="429305"/>
          </a:xfrm>
          <a:prstGeom prst="straightConnector1">
            <a:avLst/>
          </a:prstGeom>
          <a:ln w="34925">
            <a:solidFill>
              <a:srgbClr val="FF0000"/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4" name="TextBox 13">
            <a:extLst>
              <a:ext uri="{FF2B5EF4-FFF2-40B4-BE49-F238E27FC236}">
                <a16:creationId xmlns:a16="http://schemas.microsoft.com/office/drawing/2014/main" id="{A566554A-658E-8473-004F-1B0F75638030}"/>
              </a:ext>
            </a:extLst>
          </p:cNvPr>
          <p:cNvSpPr txBox="1"/>
          <p:nvPr/>
        </p:nvSpPr>
        <p:spPr>
          <a:xfrm>
            <a:off x="10393712" y="780455"/>
            <a:ext cx="1247775" cy="2769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200" dirty="0"/>
              <a:t>That’s me</a:t>
            </a:r>
          </a:p>
        </p:txBody>
      </p:sp>
    </p:spTree>
    <p:extLst>
      <p:ext uri="{BB962C8B-B14F-4D97-AF65-F5344CB8AC3E}">
        <p14:creationId xmlns:p14="http://schemas.microsoft.com/office/powerpoint/2010/main" val="498387278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F60E826D-0922-0AF0-DE50-215DADF64A0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5273707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7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F60E826D-0922-0AF0-DE50-215DADF64A0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Arrow: Pentagon 3">
            <a:extLst>
              <a:ext uri="{FF2B5EF4-FFF2-40B4-BE49-F238E27FC236}">
                <a16:creationId xmlns:a16="http://schemas.microsoft.com/office/drawing/2014/main" id="{A083D5DB-2328-46CB-9E58-12C11F286D24}"/>
              </a:ext>
            </a:extLst>
          </p:cNvPr>
          <p:cNvSpPr/>
          <p:nvPr/>
        </p:nvSpPr>
        <p:spPr>
          <a:xfrm>
            <a:off x="-10996" y="316865"/>
            <a:ext cx="9909595" cy="608535"/>
          </a:xfrm>
          <a:prstGeom prst="homePlate">
            <a:avLst>
              <a:gd name="adj" fmla="val 66703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26F66C-8B72-421B-9AC6-13AA752E3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279841"/>
            <a:ext cx="9403301" cy="673562"/>
          </a:xfrm>
        </p:spPr>
        <p:txBody>
          <a:bodyPr vert="horz"/>
          <a:lstStyle/>
          <a:p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Let’s Take A Step Back</a:t>
            </a:r>
          </a:p>
        </p:txBody>
      </p:sp>
      <p:pic>
        <p:nvPicPr>
          <p:cNvPr id="5" name="Picture 2" descr="Xcel Energy: Responsible by Nature">
            <a:extLst>
              <a:ext uri="{FF2B5EF4-FFF2-40B4-BE49-F238E27FC236}">
                <a16:creationId xmlns:a16="http://schemas.microsoft.com/office/drawing/2014/main" id="{214F8DBC-B5EF-4B93-B438-5DAAD54ADA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2287" y="66675"/>
            <a:ext cx="1769713" cy="342900"/>
          </a:xfrm>
          <a:prstGeom prst="rect">
            <a:avLst/>
          </a:prstGeom>
          <a:noFill/>
        </p:spPr>
      </p:pic>
      <p:sp>
        <p:nvSpPr>
          <p:cNvPr id="20" name="Rectangle 19">
            <a:extLst>
              <a:ext uri="{FF2B5EF4-FFF2-40B4-BE49-F238E27FC236}">
                <a16:creationId xmlns:a16="http://schemas.microsoft.com/office/drawing/2014/main" id="{5B316799-F3B1-4987-9EC6-3FA05D962A1A}"/>
              </a:ext>
            </a:extLst>
          </p:cNvPr>
          <p:cNvSpPr/>
          <p:nvPr/>
        </p:nvSpPr>
        <p:spPr>
          <a:xfrm>
            <a:off x="5719660" y="1182019"/>
            <a:ext cx="6167540" cy="213904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r">
              <a:spcAft>
                <a:spcPts val="600"/>
              </a:spcAft>
            </a:pPr>
            <a:r>
              <a:rPr lang="en-US" b="1" u="sng" dirty="0">
                <a:solidFill>
                  <a:srgbClr val="3C3C3C"/>
                </a:solidFill>
                <a:cs typeface="Arial" panose="020B0604020202020204" pitchFamily="34" charset="0"/>
              </a:rPr>
              <a:t>VALUE OF CHANGE MANAGEMENT: </a:t>
            </a:r>
          </a:p>
          <a:p>
            <a:pPr>
              <a:spcAft>
                <a:spcPts val="600"/>
              </a:spcAft>
            </a:pPr>
            <a:endParaRPr lang="en-US" b="1" u="sng" dirty="0">
              <a:solidFill>
                <a:srgbClr val="3C3C3C"/>
              </a:solidFill>
              <a:cs typeface="Arial" panose="020B0604020202020204" pitchFamily="34" charset="0"/>
            </a:endParaRP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Months of uncertainty and internal reorganization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uccessful Implementation of Change (Volunteer Army)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derstand and Eliminate Barriers to Change</a:t>
            </a:r>
          </a:p>
          <a:p>
            <a:pPr marL="285750" indent="-285750"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e impact of Culture on Change Management</a:t>
            </a:r>
          </a:p>
        </p:txBody>
      </p:sp>
      <p:sp>
        <p:nvSpPr>
          <p:cNvPr id="21" name="Rectangle 20">
            <a:extLst>
              <a:ext uri="{FF2B5EF4-FFF2-40B4-BE49-F238E27FC236}">
                <a16:creationId xmlns:a16="http://schemas.microsoft.com/office/drawing/2014/main" id="{5174DFC8-D7E9-4FEA-BDFB-F93D39C93BA0}"/>
              </a:ext>
            </a:extLst>
          </p:cNvPr>
          <p:cNvSpPr/>
          <p:nvPr/>
        </p:nvSpPr>
        <p:spPr>
          <a:xfrm>
            <a:off x="300371" y="2097655"/>
            <a:ext cx="11304248" cy="30777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endParaRPr lang="en-IN" sz="1400" b="1">
              <a:solidFill>
                <a:srgbClr val="3C3C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5" name="Footer Placeholder 3">
            <a:extLst>
              <a:ext uri="{FF2B5EF4-FFF2-40B4-BE49-F238E27FC236}">
                <a16:creationId xmlns:a16="http://schemas.microsoft.com/office/drawing/2014/main" id="{8153F142-8232-4200-833C-AC5C15F33BD3}"/>
              </a:ext>
            </a:extLst>
          </p:cNvPr>
          <p:cNvSpPr txBox="1">
            <a:spLocks/>
          </p:cNvSpPr>
          <p:nvPr/>
        </p:nvSpPr>
        <p:spPr>
          <a:xfrm>
            <a:off x="75663" y="6592724"/>
            <a:ext cx="26445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© 2024 Xcel Energy</a:t>
            </a:r>
          </a:p>
        </p:txBody>
      </p:sp>
      <p:sp>
        <p:nvSpPr>
          <p:cNvPr id="22" name="Rectangle 21">
            <a:extLst>
              <a:ext uri="{FF2B5EF4-FFF2-40B4-BE49-F238E27FC236}">
                <a16:creationId xmlns:a16="http://schemas.microsoft.com/office/drawing/2014/main" id="{6E2A2960-C3A2-485F-BB24-604018C9F3FA}"/>
              </a:ext>
            </a:extLst>
          </p:cNvPr>
          <p:cNvSpPr/>
          <p:nvPr/>
        </p:nvSpPr>
        <p:spPr>
          <a:xfrm>
            <a:off x="198442" y="1066828"/>
            <a:ext cx="11688758" cy="257821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Rectangle 22">
            <a:extLst>
              <a:ext uri="{FF2B5EF4-FFF2-40B4-BE49-F238E27FC236}">
                <a16:creationId xmlns:a16="http://schemas.microsoft.com/office/drawing/2014/main" id="{6B6CAB63-8F45-4AC6-93B6-3C19D3445AE2}"/>
              </a:ext>
            </a:extLst>
          </p:cNvPr>
          <p:cNvSpPr/>
          <p:nvPr/>
        </p:nvSpPr>
        <p:spPr>
          <a:xfrm>
            <a:off x="198442" y="3829643"/>
            <a:ext cx="11688758" cy="268419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extBox 1">
            <a:extLst>
              <a:ext uri="{FF2B5EF4-FFF2-40B4-BE49-F238E27FC236}">
                <a16:creationId xmlns:a16="http://schemas.microsoft.com/office/drawing/2014/main" id="{718853FE-A304-4F56-806E-4D9EA6296DA4}"/>
              </a:ext>
            </a:extLst>
          </p:cNvPr>
          <p:cNvSpPr txBox="1"/>
          <p:nvPr/>
        </p:nvSpPr>
        <p:spPr>
          <a:xfrm>
            <a:off x="384261" y="4043227"/>
            <a:ext cx="11343547" cy="225702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/>
              <a:t>My Rotation</a:t>
            </a:r>
            <a:r>
              <a:rPr lang="en-US" b="1"/>
              <a:t>:  </a:t>
            </a:r>
            <a:endParaRPr lang="en-US" b="1" dirty="0"/>
          </a:p>
          <a:p>
            <a:endParaRPr lang="en-US" b="1" dirty="0"/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low culture change within a large corporation </a:t>
            </a: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 5+ years</a:t>
            </a:r>
            <a:endParaRPr lang="en-US" dirty="0">
              <a:solidFill>
                <a:srgbClr val="3C3C3C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Training and Application of Change Management at Xcel Energy &amp; Denver University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dirty="0">
                <a:sym typeface="Wingdings" panose="05000000000000000000" pitchFamily="2" charset="2"/>
              </a:rPr>
              <a:t>Hands-on Learning Opportunities  Be Seeking Out Ways to Help! </a:t>
            </a:r>
          </a:p>
          <a:p>
            <a:pPr marL="285750" indent="-285750">
              <a:lnSpc>
                <a:spcPct val="150000"/>
              </a:lnSpc>
              <a:buFontTx/>
              <a:buChar char="-"/>
            </a:pPr>
            <a:r>
              <a:rPr lang="en-US" dirty="0">
                <a:sym typeface="Wingdings" panose="05000000000000000000" pitchFamily="2" charset="2"/>
              </a:rPr>
              <a:t>Creating a Culture of Connection and Collaboration </a:t>
            </a:r>
          </a:p>
        </p:txBody>
      </p:sp>
      <p:pic>
        <p:nvPicPr>
          <p:cNvPr id="11" name="Picture 10" descr="Onions growing in garden">
            <a:extLst>
              <a:ext uri="{FF2B5EF4-FFF2-40B4-BE49-F238E27FC236}">
                <a16:creationId xmlns:a16="http://schemas.microsoft.com/office/drawing/2014/main" id="{470C7C0F-C199-AFE3-2CD2-7E7B3E10F3FD}"/>
              </a:ext>
            </a:extLst>
          </p:cNvPr>
          <p:cNvPicPr>
            <a:picLocks noChangeAspect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4518" y="1138003"/>
            <a:ext cx="3648308" cy="243278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8646507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: Pentagon 3">
            <a:extLst>
              <a:ext uri="{FF2B5EF4-FFF2-40B4-BE49-F238E27FC236}">
                <a16:creationId xmlns:a16="http://schemas.microsoft.com/office/drawing/2014/main" id="{A083D5DB-2328-46CB-9E58-12C11F286D24}"/>
              </a:ext>
            </a:extLst>
          </p:cNvPr>
          <p:cNvSpPr/>
          <p:nvPr/>
        </p:nvSpPr>
        <p:spPr>
          <a:xfrm>
            <a:off x="-10996" y="316865"/>
            <a:ext cx="9909595" cy="608535"/>
          </a:xfrm>
          <a:prstGeom prst="homePlate">
            <a:avLst>
              <a:gd name="adj" fmla="val 66703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solidFill>
                <a:srgbClr val="FF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26F66C-8B72-421B-9AC6-13AA752E3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285946"/>
            <a:ext cx="9403301" cy="673562"/>
          </a:xfrm>
        </p:spPr>
        <p:txBody>
          <a:bodyPr/>
          <a:lstStyle/>
          <a:p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verall Impact and Major Takeaways</a:t>
            </a:r>
          </a:p>
        </p:txBody>
      </p:sp>
      <p:pic>
        <p:nvPicPr>
          <p:cNvPr id="5" name="Picture 2" descr="Xcel Energy: Responsible by Nature">
            <a:extLst>
              <a:ext uri="{FF2B5EF4-FFF2-40B4-BE49-F238E27FC236}">
                <a16:creationId xmlns:a16="http://schemas.microsoft.com/office/drawing/2014/main" id="{214F8DBC-B5EF-4B93-B438-5DAAD54ADA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2287" y="66675"/>
            <a:ext cx="1769713" cy="342900"/>
          </a:xfrm>
          <a:prstGeom prst="rect">
            <a:avLst/>
          </a:prstGeom>
          <a:noFill/>
        </p:spPr>
      </p:pic>
      <p:sp>
        <p:nvSpPr>
          <p:cNvPr id="28" name="Footer Placeholder 3">
            <a:extLst>
              <a:ext uri="{FF2B5EF4-FFF2-40B4-BE49-F238E27FC236}">
                <a16:creationId xmlns:a16="http://schemas.microsoft.com/office/drawing/2014/main" id="{146CE480-5DF4-457A-8B6C-EC001A9D5D79}"/>
              </a:ext>
            </a:extLst>
          </p:cNvPr>
          <p:cNvSpPr txBox="1">
            <a:spLocks/>
          </p:cNvSpPr>
          <p:nvPr/>
        </p:nvSpPr>
        <p:spPr>
          <a:xfrm>
            <a:off x="75663" y="6592724"/>
            <a:ext cx="264458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>
                <a:solidFill>
                  <a:schemeClr val="accent3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© 2024 Xcel Energy</a:t>
            </a:r>
          </a:p>
        </p:txBody>
      </p:sp>
      <p:sp>
        <p:nvSpPr>
          <p:cNvPr id="33" name="Rectangle 32">
            <a:extLst>
              <a:ext uri="{FF2B5EF4-FFF2-40B4-BE49-F238E27FC236}">
                <a16:creationId xmlns:a16="http://schemas.microsoft.com/office/drawing/2014/main" id="{F4E8549D-86CE-424A-B25F-03FED7B64023}"/>
              </a:ext>
            </a:extLst>
          </p:cNvPr>
          <p:cNvSpPr/>
          <p:nvPr/>
        </p:nvSpPr>
        <p:spPr>
          <a:xfrm>
            <a:off x="198442" y="1066828"/>
            <a:ext cx="11688758" cy="257821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8" name="Rectangle 37">
            <a:extLst>
              <a:ext uri="{FF2B5EF4-FFF2-40B4-BE49-F238E27FC236}">
                <a16:creationId xmlns:a16="http://schemas.microsoft.com/office/drawing/2014/main" id="{0D3842EB-2BD9-46C2-86FB-04835CF83947}"/>
              </a:ext>
            </a:extLst>
          </p:cNvPr>
          <p:cNvSpPr/>
          <p:nvPr/>
        </p:nvSpPr>
        <p:spPr>
          <a:xfrm>
            <a:off x="198442" y="3829643"/>
            <a:ext cx="11688758" cy="268419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9" name="Rectangle 38">
            <a:extLst>
              <a:ext uri="{FF2B5EF4-FFF2-40B4-BE49-F238E27FC236}">
                <a16:creationId xmlns:a16="http://schemas.microsoft.com/office/drawing/2014/main" id="{5D9B697B-F389-4CDB-8CC7-C9BDA46B1BF2}"/>
              </a:ext>
            </a:extLst>
          </p:cNvPr>
          <p:cNvSpPr/>
          <p:nvPr/>
        </p:nvSpPr>
        <p:spPr>
          <a:xfrm>
            <a:off x="286541" y="1043240"/>
            <a:ext cx="8165197" cy="242630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b="1" u="sng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al: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Sharpen Communication Skills with Teams and Leaders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Effectively Run Meetings or Events (with Technology)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Collaborate within Complex Organization Structure </a:t>
            </a:r>
          </a:p>
          <a:p>
            <a:pPr>
              <a:lnSpc>
                <a:spcPct val="150000"/>
              </a:lnSpc>
              <a:spcAft>
                <a:spcPts val="600"/>
              </a:spcAft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Corporate Change Management &amp; Strategies</a:t>
            </a:r>
          </a:p>
        </p:txBody>
      </p:sp>
      <p:sp>
        <p:nvSpPr>
          <p:cNvPr id="40" name="Rectangle 39">
            <a:extLst>
              <a:ext uri="{FF2B5EF4-FFF2-40B4-BE49-F238E27FC236}">
                <a16:creationId xmlns:a16="http://schemas.microsoft.com/office/drawing/2014/main" id="{960515B9-A527-4BE1-B740-46B16044052C}"/>
              </a:ext>
            </a:extLst>
          </p:cNvPr>
          <p:cNvSpPr/>
          <p:nvPr/>
        </p:nvSpPr>
        <p:spPr>
          <a:xfrm>
            <a:off x="304800" y="4006206"/>
            <a:ext cx="10465183" cy="2287806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spcAft>
                <a:spcPts val="600"/>
              </a:spcAft>
            </a:pPr>
            <a:r>
              <a:rPr lang="en-US" b="1" u="sng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ersonal: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Tx/>
              <a:buChar char="-"/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areer Launch Community and Connect Events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Tx/>
              <a:buChar char="-"/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avigating Uncertainty and Rapid Changes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Tx/>
              <a:buChar char="-"/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fessional Development between Work and School </a:t>
            </a:r>
          </a:p>
          <a:p>
            <a:pPr marL="285750" indent="-285750">
              <a:lnSpc>
                <a:spcPct val="150000"/>
              </a:lnSpc>
              <a:spcAft>
                <a:spcPts val="600"/>
              </a:spcAft>
              <a:buFontTx/>
              <a:buChar char="-"/>
            </a:pPr>
            <a:r>
              <a:rPr lang="en-US" dirty="0">
                <a:solidFill>
                  <a:srgbClr val="3C3C3C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nique and Memorable Experiences with my Peers</a:t>
            </a:r>
          </a:p>
        </p:txBody>
      </p:sp>
      <p:pic>
        <p:nvPicPr>
          <p:cNvPr id="6" name="Graphic 5" descr="Volume with solid fill">
            <a:extLst>
              <a:ext uri="{FF2B5EF4-FFF2-40B4-BE49-F238E27FC236}">
                <a16:creationId xmlns:a16="http://schemas.microsoft.com/office/drawing/2014/main" id="{10B9DF0E-F852-414C-8BEF-8E79F4B0F2F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409066" y="1519506"/>
            <a:ext cx="651654" cy="651654"/>
          </a:xfrm>
          <a:prstGeom prst="rect">
            <a:avLst/>
          </a:prstGeom>
        </p:spPr>
      </p:pic>
      <p:pic>
        <p:nvPicPr>
          <p:cNvPr id="8" name="Graphic 7" descr="Playbook with solid fill">
            <a:extLst>
              <a:ext uri="{FF2B5EF4-FFF2-40B4-BE49-F238E27FC236}">
                <a16:creationId xmlns:a16="http://schemas.microsoft.com/office/drawing/2014/main" id="{B757EB20-0F87-4E28-BA0D-CC95BC5A88D8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730856" y="1930565"/>
            <a:ext cx="651653" cy="651653"/>
          </a:xfrm>
          <a:prstGeom prst="rect">
            <a:avLst/>
          </a:prstGeom>
        </p:spPr>
      </p:pic>
      <p:pic>
        <p:nvPicPr>
          <p:cNvPr id="14" name="Graphic 13" descr="Cheers outline">
            <a:extLst>
              <a:ext uri="{FF2B5EF4-FFF2-40B4-BE49-F238E27FC236}">
                <a16:creationId xmlns:a16="http://schemas.microsoft.com/office/drawing/2014/main" id="{1185C9CB-8B28-4258-803F-7B6A5B26973F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409066" y="2494525"/>
            <a:ext cx="651654" cy="651654"/>
          </a:xfrm>
          <a:prstGeom prst="rect">
            <a:avLst/>
          </a:prstGeom>
        </p:spPr>
      </p:pic>
      <p:pic>
        <p:nvPicPr>
          <p:cNvPr id="16" name="Graphic 15" descr="Periodic Graph with solid fill">
            <a:extLst>
              <a:ext uri="{FF2B5EF4-FFF2-40B4-BE49-F238E27FC236}">
                <a16:creationId xmlns:a16="http://schemas.microsoft.com/office/drawing/2014/main" id="{3CCFA88B-A55E-4393-A2B4-9E026E8D2E5C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438405" y="2886552"/>
            <a:ext cx="651654" cy="651654"/>
          </a:xfrm>
          <a:prstGeom prst="rect">
            <a:avLst/>
          </a:prstGeom>
        </p:spPr>
      </p:pic>
      <p:sp>
        <p:nvSpPr>
          <p:cNvPr id="2" name="AutoShape 2">
            <a:extLst>
              <a:ext uri="{FF2B5EF4-FFF2-40B4-BE49-F238E27FC236}">
                <a16:creationId xmlns:a16="http://schemas.microsoft.com/office/drawing/2014/main" id="{A1CADA9E-DB54-DF9F-1A5B-A6AF6D12F92D}"/>
              </a:ext>
            </a:extLst>
          </p:cNvPr>
          <p:cNvSpPr>
            <a:spLocks noChangeAspect="1" noChangeArrowheads="1"/>
          </p:cNvSpPr>
          <p:nvPr/>
        </p:nvSpPr>
        <p:spPr bwMode="auto">
          <a:xfrm>
            <a:off x="9433421" y="4602060"/>
            <a:ext cx="304800" cy="3048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US"/>
          </a:p>
        </p:txBody>
      </p:sp>
      <p:pic>
        <p:nvPicPr>
          <p:cNvPr id="11" name="Picture 10" descr="A group of people sitting around a table&#10;&#10;Description automatically generated">
            <a:extLst>
              <a:ext uri="{FF2B5EF4-FFF2-40B4-BE49-F238E27FC236}">
                <a16:creationId xmlns:a16="http://schemas.microsoft.com/office/drawing/2014/main" id="{AF51AC66-CABB-1B6E-E39D-8B82D50EB612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01941" y="1077348"/>
            <a:ext cx="4085259" cy="544701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605849152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3D3F36FE-C007-6558-2042-96EAF3BA5A5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5449910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5" imgW="347" imgH="348" progId="TCLayout.ActiveDocument.1">
                  <p:embed/>
                </p:oleObj>
              </mc:Choice>
              <mc:Fallback>
                <p:oleObj name="think-cell Slide" r:id="rId5" imgW="347" imgH="348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3D3F36FE-C007-6558-2042-96EAF3BA5A5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Arrow: Pentagon 3">
            <a:extLst>
              <a:ext uri="{FF2B5EF4-FFF2-40B4-BE49-F238E27FC236}">
                <a16:creationId xmlns:a16="http://schemas.microsoft.com/office/drawing/2014/main" id="{A083D5DB-2328-46CB-9E58-12C11F286D24}"/>
              </a:ext>
            </a:extLst>
          </p:cNvPr>
          <p:cNvSpPr/>
          <p:nvPr/>
        </p:nvSpPr>
        <p:spPr>
          <a:xfrm>
            <a:off x="-10996" y="316865"/>
            <a:ext cx="9909595" cy="608535"/>
          </a:xfrm>
          <a:prstGeom prst="homePlate">
            <a:avLst>
              <a:gd name="adj" fmla="val 66703"/>
            </a:avLst>
          </a:prstGeom>
          <a:solidFill>
            <a:srgbClr val="FF0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26F66C-8B72-421B-9AC6-13AA752E3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285946"/>
            <a:ext cx="9403301" cy="673562"/>
          </a:xfrm>
        </p:spPr>
        <p:txBody>
          <a:bodyPr vert="horz">
            <a:normAutofit/>
          </a:bodyPr>
          <a:lstStyle/>
          <a:p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Next Rotation:</a:t>
            </a:r>
            <a:endParaRPr lang="en-US" sz="2400" b="1" dirty="0">
              <a:solidFill>
                <a:schemeClr val="bg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5" name="Picture 2" descr="Xcel Energy: Responsible by Nature">
            <a:extLst>
              <a:ext uri="{FF2B5EF4-FFF2-40B4-BE49-F238E27FC236}">
                <a16:creationId xmlns:a16="http://schemas.microsoft.com/office/drawing/2014/main" id="{214F8DBC-B5EF-4B93-B438-5DAAD54ADA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2287" y="66675"/>
            <a:ext cx="1769713" cy="342900"/>
          </a:xfrm>
          <a:prstGeom prst="rect">
            <a:avLst/>
          </a:prstGeom>
          <a:noFill/>
        </p:spPr>
      </p:pic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857FC011-03A6-4DF8-9218-A74B3F61C1A6}"/>
              </a:ext>
            </a:extLst>
          </p:cNvPr>
          <p:cNvSpPr txBox="1">
            <a:spLocks/>
          </p:cNvSpPr>
          <p:nvPr/>
        </p:nvSpPr>
        <p:spPr>
          <a:xfrm>
            <a:off x="75663" y="6592724"/>
            <a:ext cx="3359746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© 2024 Xcel Energy</a:t>
            </a:r>
          </a:p>
        </p:txBody>
      </p:sp>
      <p:sp>
        <p:nvSpPr>
          <p:cNvPr id="71" name="Rectangle 70">
            <a:extLst>
              <a:ext uri="{FF2B5EF4-FFF2-40B4-BE49-F238E27FC236}">
                <a16:creationId xmlns:a16="http://schemas.microsoft.com/office/drawing/2014/main" id="{319EA142-7428-4DC8-A5D2-D39076F1B9F4}"/>
              </a:ext>
            </a:extLst>
          </p:cNvPr>
          <p:cNvSpPr/>
          <p:nvPr/>
        </p:nvSpPr>
        <p:spPr>
          <a:xfrm>
            <a:off x="198442" y="1048587"/>
            <a:ext cx="5897558" cy="2578216"/>
          </a:xfrm>
          <a:prstGeom prst="rect">
            <a:avLst/>
          </a:prstGeom>
          <a:noFill/>
          <a:ln w="28575"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2" name="Rectangle 71">
            <a:extLst>
              <a:ext uri="{FF2B5EF4-FFF2-40B4-BE49-F238E27FC236}">
                <a16:creationId xmlns:a16="http://schemas.microsoft.com/office/drawing/2014/main" id="{8DECC8C4-E675-44FE-A22B-A37B6B31029E}"/>
              </a:ext>
            </a:extLst>
          </p:cNvPr>
          <p:cNvSpPr/>
          <p:nvPr/>
        </p:nvSpPr>
        <p:spPr>
          <a:xfrm>
            <a:off x="198442" y="3829643"/>
            <a:ext cx="11688758" cy="2684197"/>
          </a:xfrm>
          <a:prstGeom prst="rect">
            <a:avLst/>
          </a:prstGeom>
          <a:noFill/>
          <a:ln w="28575"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2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TextBox 20">
            <a:extLst>
              <a:ext uri="{FF2B5EF4-FFF2-40B4-BE49-F238E27FC236}">
                <a16:creationId xmlns:a16="http://schemas.microsoft.com/office/drawing/2014/main" id="{82F71889-EA1F-4504-AFBE-A6FBD2012214}"/>
              </a:ext>
            </a:extLst>
          </p:cNvPr>
          <p:cNvSpPr txBox="1"/>
          <p:nvPr/>
        </p:nvSpPr>
        <p:spPr>
          <a:xfrm>
            <a:off x="410690" y="1143410"/>
            <a:ext cx="5685777" cy="243143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000" b="1" dirty="0"/>
              <a:t>Talent Strategy Analyst</a:t>
            </a:r>
          </a:p>
          <a:p>
            <a:r>
              <a:rPr lang="en-US" sz="2000" dirty="0"/>
              <a:t>(Feb 1</a:t>
            </a:r>
            <a:r>
              <a:rPr lang="en-US" sz="2000" baseline="30000" dirty="0"/>
              <a:t>st</a:t>
            </a:r>
            <a:r>
              <a:rPr lang="en-US" sz="2000" dirty="0"/>
              <a:t> – August 2024)</a:t>
            </a:r>
          </a:p>
          <a:p>
            <a:endParaRPr lang="en-US" sz="2000" b="1" dirty="0"/>
          </a:p>
          <a:p>
            <a:r>
              <a:rPr lang="en-US" sz="2000" u="sng" dirty="0"/>
              <a:t>Experience Manager:</a:t>
            </a:r>
            <a:r>
              <a:rPr lang="en-US" sz="2000" dirty="0"/>
              <a:t> </a:t>
            </a:r>
            <a:r>
              <a:rPr lang="en-US" sz="2000" b="1" dirty="0"/>
              <a:t>Jamie Barrie</a:t>
            </a:r>
          </a:p>
          <a:p>
            <a:r>
              <a:rPr lang="en-US" dirty="0"/>
              <a:t>Principle Talent Management Consultant</a:t>
            </a:r>
          </a:p>
          <a:p>
            <a:endParaRPr lang="en-US" dirty="0"/>
          </a:p>
          <a:p>
            <a:r>
              <a:rPr lang="en-US" dirty="0"/>
              <a:t>One Xcel Energy Way Behaviors</a:t>
            </a:r>
          </a:p>
          <a:p>
            <a:r>
              <a:rPr lang="en-US" dirty="0"/>
              <a:t>Talent Acquisition </a:t>
            </a:r>
          </a:p>
        </p:txBody>
      </p:sp>
      <p:sp>
        <p:nvSpPr>
          <p:cNvPr id="73" name="TextBox 72">
            <a:extLst>
              <a:ext uri="{FF2B5EF4-FFF2-40B4-BE49-F238E27FC236}">
                <a16:creationId xmlns:a16="http://schemas.microsoft.com/office/drawing/2014/main" id="{C25728E7-0914-4942-8CB0-648A21406F11}"/>
              </a:ext>
            </a:extLst>
          </p:cNvPr>
          <p:cNvSpPr txBox="1"/>
          <p:nvPr/>
        </p:nvSpPr>
        <p:spPr>
          <a:xfrm>
            <a:off x="410224" y="3922969"/>
            <a:ext cx="11265193" cy="286232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b="1" u="sng" dirty="0"/>
              <a:t>Next Rotation: 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Project Management for New Xcel Energy Behaviors enterprise-wide rollout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Contribute to Change Management, Marketing, and Communication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Design Talent Management Deliverables for New Behaviors</a:t>
            </a:r>
          </a:p>
          <a:p>
            <a:pPr marL="285750" indent="-285750">
              <a:lnSpc>
                <a:spcPct val="200000"/>
              </a:lnSpc>
              <a:buFontTx/>
              <a:buChar char="-"/>
            </a:pPr>
            <a:r>
              <a:rPr lang="en-US" dirty="0"/>
              <a:t>Other Talent Strategy Programs </a:t>
            </a:r>
          </a:p>
          <a:p>
            <a:pPr marL="285750" indent="-285750">
              <a:buFontTx/>
              <a:buChar char="-"/>
            </a:pPr>
            <a:endParaRPr lang="en-US" dirty="0"/>
          </a:p>
        </p:txBody>
      </p:sp>
      <p:pic>
        <p:nvPicPr>
          <p:cNvPr id="9" name="Picture 8" descr="A person with a beard&#10;&#10;Description automatically generated">
            <a:extLst>
              <a:ext uri="{FF2B5EF4-FFF2-40B4-BE49-F238E27FC236}">
                <a16:creationId xmlns:a16="http://schemas.microsoft.com/office/drawing/2014/main" id="{8D5C4BA7-A01F-6733-299E-1C343A6BDC4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564650" y="1080540"/>
            <a:ext cx="2576545" cy="2576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85475983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Arrow: Pentagon 3">
            <a:extLst>
              <a:ext uri="{FF2B5EF4-FFF2-40B4-BE49-F238E27FC236}">
                <a16:creationId xmlns:a16="http://schemas.microsoft.com/office/drawing/2014/main" id="{A083D5DB-2328-46CB-9E58-12C11F286D24}"/>
              </a:ext>
            </a:extLst>
          </p:cNvPr>
          <p:cNvSpPr/>
          <p:nvPr/>
        </p:nvSpPr>
        <p:spPr>
          <a:xfrm>
            <a:off x="-10996" y="316865"/>
            <a:ext cx="9909595" cy="608535"/>
          </a:xfrm>
          <a:prstGeom prst="homePlate">
            <a:avLst>
              <a:gd name="adj" fmla="val 66703"/>
            </a:avLst>
          </a:prstGeom>
          <a:solidFill>
            <a:srgbClr val="FF0000"/>
          </a:solidFill>
          <a:ln>
            <a:noFill/>
          </a:ln>
          <a:effectLst>
            <a:outerShdw blurRad="190500" dist="228600" dir="2700000" algn="ctr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4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8E26F66C-8B72-421B-9AC6-13AA752E319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95298" y="285946"/>
            <a:ext cx="9403301" cy="673562"/>
          </a:xfrm>
        </p:spPr>
        <p:txBody>
          <a:bodyPr>
            <a:normAutofit/>
          </a:bodyPr>
          <a:lstStyle/>
          <a:p>
            <a:pPr algn="ctr"/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nk you for listening! </a:t>
            </a:r>
            <a:r>
              <a:rPr lang="en-US" sz="24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  <p:pic>
        <p:nvPicPr>
          <p:cNvPr id="5" name="Picture 2" descr="Xcel Energy: Responsible by Nature">
            <a:extLst>
              <a:ext uri="{FF2B5EF4-FFF2-40B4-BE49-F238E27FC236}">
                <a16:creationId xmlns:a16="http://schemas.microsoft.com/office/drawing/2014/main" id="{214F8DBC-B5EF-4B93-B438-5DAAD54ADA8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22287" y="66675"/>
            <a:ext cx="1769713" cy="342900"/>
          </a:xfrm>
          <a:prstGeom prst="rect">
            <a:avLst/>
          </a:prstGeom>
          <a:noFill/>
        </p:spPr>
      </p:pic>
      <p:sp>
        <p:nvSpPr>
          <p:cNvPr id="24" name="Footer Placeholder 3">
            <a:extLst>
              <a:ext uri="{FF2B5EF4-FFF2-40B4-BE49-F238E27FC236}">
                <a16:creationId xmlns:a16="http://schemas.microsoft.com/office/drawing/2014/main" id="{857FC011-03A6-4DF8-9218-A74B3F61C1A6}"/>
              </a:ext>
            </a:extLst>
          </p:cNvPr>
          <p:cNvSpPr txBox="1">
            <a:spLocks/>
          </p:cNvSpPr>
          <p:nvPr/>
        </p:nvSpPr>
        <p:spPr>
          <a:xfrm>
            <a:off x="75663" y="6592724"/>
            <a:ext cx="3359746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R="0" lvl="0" indent="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kumimoji="0" sz="800" b="0" i="0" u="none" strike="noStrike" cap="none" spc="0" normalizeH="0" baseline="0">
                <a:ln>
                  <a:noFill/>
                </a:ln>
                <a:solidFill>
                  <a:srgbClr val="7F7F7F"/>
                </a:solidFill>
                <a:effectLst/>
                <a:uLnTx/>
                <a:uFillTx/>
                <a:latin typeface="Arial" panose="020B0604020202020204"/>
              </a:defRPr>
            </a:lvl1pPr>
            <a:lvl2pPr marL="685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n-US" dirty="0"/>
              <a:t>© 2024 Xcel Energy</a:t>
            </a:r>
          </a:p>
        </p:txBody>
      </p:sp>
      <p:sp>
        <p:nvSpPr>
          <p:cNvPr id="10" name="Arrow: Pentagon 9">
            <a:extLst>
              <a:ext uri="{FF2B5EF4-FFF2-40B4-BE49-F238E27FC236}">
                <a16:creationId xmlns:a16="http://schemas.microsoft.com/office/drawing/2014/main" id="{1976B527-5875-41B0-A2F4-CD781DFBD464}"/>
              </a:ext>
            </a:extLst>
          </p:cNvPr>
          <p:cNvSpPr/>
          <p:nvPr/>
        </p:nvSpPr>
        <p:spPr>
          <a:xfrm>
            <a:off x="0" y="3339127"/>
            <a:ext cx="11539839" cy="1050515"/>
          </a:xfrm>
          <a:prstGeom prst="homePlate">
            <a:avLst>
              <a:gd name="adj" fmla="val 66703"/>
            </a:avLst>
          </a:prstGeom>
          <a:solidFill>
            <a:srgbClr val="FF0000"/>
          </a:solidFill>
          <a:ln>
            <a:noFill/>
          </a:ln>
          <a:effectLst>
            <a:outerShdw blurRad="190500" dist="228600" dir="2700000" algn="ctr">
              <a:srgbClr val="000000">
                <a:alpha val="45000"/>
              </a:srgbClr>
            </a:outerShdw>
          </a:effectLst>
          <a:scene3d>
            <a:camera prst="orthographicFront">
              <a:rot lat="0" lon="0" rev="0"/>
            </a:camera>
            <a:lightRig rig="glow" dir="t">
              <a:rot lat="0" lon="0" rev="4800000"/>
            </a:lightRig>
          </a:scene3d>
          <a:sp3d prstMaterial="matte">
            <a:bevelT w="127000" h="63500"/>
          </a:sp3d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 anchorCtr="1">
            <a:noAutofit/>
          </a:bodyPr>
          <a:lstStyle/>
          <a:p>
            <a:pPr algn="ctr"/>
            <a:r>
              <a:rPr lang="en-US" sz="4000" b="1" dirty="0">
                <a:latin typeface="Arial" panose="020B0604020202020204" pitchFamily="34" charset="0"/>
                <a:cs typeface="Arial" panose="020B0604020202020204" pitchFamily="34" charset="0"/>
              </a:rPr>
              <a:t>Open to Questions &amp; Responses</a:t>
            </a:r>
          </a:p>
        </p:txBody>
      </p:sp>
      <p:sp>
        <p:nvSpPr>
          <p:cNvPr id="11" name="Subtitle 2">
            <a:extLst>
              <a:ext uri="{FF2B5EF4-FFF2-40B4-BE49-F238E27FC236}">
                <a16:creationId xmlns:a16="http://schemas.microsoft.com/office/drawing/2014/main" id="{4BD79235-421C-4125-BC8F-A345FB2856FF}"/>
              </a:ext>
            </a:extLst>
          </p:cNvPr>
          <p:cNvSpPr txBox="1">
            <a:spLocks/>
          </p:cNvSpPr>
          <p:nvPr/>
        </p:nvSpPr>
        <p:spPr>
          <a:xfrm>
            <a:off x="848263" y="6304122"/>
            <a:ext cx="11268074" cy="465139"/>
          </a:xfrm>
          <a:prstGeom prst="rect">
            <a:avLst/>
          </a:prstGeom>
          <a:noFill/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2800" b="1" dirty="0">
                <a:latin typeface="+mj-lt"/>
              </a:rPr>
              <a:t>Vinay Merchant’s 2</a:t>
            </a:r>
            <a:r>
              <a:rPr lang="en-US" sz="2800" b="1" baseline="30000" dirty="0">
                <a:latin typeface="+mj-lt"/>
              </a:rPr>
              <a:t>nd</a:t>
            </a:r>
            <a:r>
              <a:rPr lang="en-US" sz="2800" b="1" dirty="0">
                <a:latin typeface="+mj-lt"/>
              </a:rPr>
              <a:t> Rotation</a:t>
            </a:r>
          </a:p>
        </p:txBody>
      </p:sp>
    </p:spTree>
    <p:extLst>
      <p:ext uri="{BB962C8B-B14F-4D97-AF65-F5344CB8AC3E}">
        <p14:creationId xmlns:p14="http://schemas.microsoft.com/office/powerpoint/2010/main" val="165083391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8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30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300" fill="hold"/>
                                        <p:tgtEl>
                                          <p:spTgt spid="10">
                                            <p:bg/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300"/>
                            </p:stCondLst>
                            <p:childTnLst>
                              <p:par>
                                <p:cTn id="10" presetID="2" presetClass="entr" presetSubtype="8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2" dur="2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0-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3" dur="200" fill="hold"/>
                                        <p:tgtEl>
                                          <p:spTgt spid="10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y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0" grpId="0" uiExpand="1" build="allAtOnce" animBg="1"/>
    </p:bld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Custom 2">
      <a:majorFont>
        <a:latin typeface="Arial Bold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Override1.xml><?xml version="1.0" encoding="utf-8"?>
<a:themeOverride xmlns:a="http://schemas.openxmlformats.org/drawingml/2006/main">
  <a:clrScheme name="Office">
    <a:dk1>
      <a:sysClr val="windowText" lastClr="000000"/>
    </a:dk1>
    <a:lt1>
      <a:sysClr val="window" lastClr="FFFFFF"/>
    </a:lt1>
    <a:dk2>
      <a:srgbClr val="44546A"/>
    </a:dk2>
    <a:lt2>
      <a:srgbClr val="E7E6E6"/>
    </a:lt2>
    <a:accent1>
      <a:srgbClr val="4472C4"/>
    </a:accent1>
    <a:accent2>
      <a:srgbClr val="ED7D31"/>
    </a:accent2>
    <a:accent3>
      <a:srgbClr val="A5A5A5"/>
    </a:accent3>
    <a:accent4>
      <a:srgbClr val="FFC000"/>
    </a:accent4>
    <a:accent5>
      <a:srgbClr val="5B9BD5"/>
    </a:accent5>
    <a:accent6>
      <a:srgbClr val="70AD47"/>
    </a:accent6>
    <a:hlink>
      <a:srgbClr val="0563C1"/>
    </a:hlink>
    <a:folHlink>
      <a:srgbClr val="954F72"/>
    </a:folHlink>
  </a:clrScheme>
</a:themeOverride>
</file>

<file path=docProps/app.xml><?xml version="1.0" encoding="utf-8"?>
<Properties xmlns="http://schemas.openxmlformats.org/officeDocument/2006/extended-properties" xmlns:vt="http://schemas.openxmlformats.org/officeDocument/2006/docPropsVTypes">
  <TotalTime>540</TotalTime>
  <Words>601</Words>
  <Application>Microsoft Office PowerPoint</Application>
  <PresentationFormat>Widescreen</PresentationFormat>
  <Paragraphs>114</Paragraphs>
  <Slides>9</Slides>
  <Notes>7</Notes>
  <HiddenSlides>0</HiddenSlides>
  <MMClips>0</MMClips>
  <ScaleCrop>false</ScaleCrop>
  <HeadingPairs>
    <vt:vector size="8" baseType="variant">
      <vt:variant>
        <vt:lpstr>Fonts Used</vt:lpstr>
      </vt:variant>
      <vt:variant>
        <vt:i4>5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9</vt:i4>
      </vt:variant>
    </vt:vector>
  </HeadingPairs>
  <TitlesOfParts>
    <vt:vector size="16" baseType="lpstr">
      <vt:lpstr>Arial</vt:lpstr>
      <vt:lpstr>Arial Bold</vt:lpstr>
      <vt:lpstr>Calibri</vt:lpstr>
      <vt:lpstr>Calibri,Sans-Serif</vt:lpstr>
      <vt:lpstr>Wingdings</vt:lpstr>
      <vt:lpstr>Office Theme</vt:lpstr>
      <vt:lpstr>think-cell Slide</vt:lpstr>
      <vt:lpstr>2nd Rotation Showcase</vt:lpstr>
      <vt:lpstr>Agenda </vt:lpstr>
      <vt:lpstr>PowerPoint Presentation</vt:lpstr>
      <vt:lpstr>One Xcel Energy Way</vt:lpstr>
      <vt:lpstr>What is a Rally Room?</vt:lpstr>
      <vt:lpstr>Let’s Take A Step Back</vt:lpstr>
      <vt:lpstr>Overall Impact and Major Takeaways</vt:lpstr>
      <vt:lpstr>Next Rotation:</vt:lpstr>
      <vt:lpstr>Thank you for listening!  </vt:lpstr>
    </vt:vector>
  </TitlesOfParts>
  <Company>Xcel Energy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2nd Rotation Showcase</dc:title>
  <dc:creator>Merchant, Vinay K</dc:creator>
  <cp:lastModifiedBy>Merchant, Vinay K</cp:lastModifiedBy>
  <cp:revision>1</cp:revision>
  <dcterms:created xsi:type="dcterms:W3CDTF">2024-01-05T19:21:36Z</dcterms:created>
  <dcterms:modified xsi:type="dcterms:W3CDTF">2024-01-30T16:24:23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MSIP_Label_611ac0a8-6b99-444d-a60f-7336bfe397d8_Enabled">
    <vt:lpwstr>true</vt:lpwstr>
  </property>
  <property fmtid="{D5CDD505-2E9C-101B-9397-08002B2CF9AE}" pid="3" name="MSIP_Label_611ac0a8-6b99-444d-a60f-7336bfe397d8_SetDate">
    <vt:lpwstr>2024-01-05T20:15:59Z</vt:lpwstr>
  </property>
  <property fmtid="{D5CDD505-2E9C-101B-9397-08002B2CF9AE}" pid="4" name="MSIP_Label_611ac0a8-6b99-444d-a60f-7336bfe397d8_Method">
    <vt:lpwstr>Standard</vt:lpwstr>
  </property>
  <property fmtid="{D5CDD505-2E9C-101B-9397-08002B2CF9AE}" pid="5" name="MSIP_Label_611ac0a8-6b99-444d-a60f-7336bfe397d8_Name">
    <vt:lpwstr>II - Internal Information</vt:lpwstr>
  </property>
  <property fmtid="{D5CDD505-2E9C-101B-9397-08002B2CF9AE}" pid="6" name="MSIP_Label_611ac0a8-6b99-444d-a60f-7336bfe397d8_SiteId">
    <vt:lpwstr>24b2a583-5c05-4b6a-b4e9-4e12dc0025ad</vt:lpwstr>
  </property>
  <property fmtid="{D5CDD505-2E9C-101B-9397-08002B2CF9AE}" pid="7" name="MSIP_Label_611ac0a8-6b99-444d-a60f-7336bfe397d8_ActionId">
    <vt:lpwstr>c69672dc-d208-4083-a9de-c20673858ee7</vt:lpwstr>
  </property>
  <property fmtid="{D5CDD505-2E9C-101B-9397-08002B2CF9AE}" pid="8" name="MSIP_Label_611ac0a8-6b99-444d-a60f-7336bfe397d8_ContentBits">
    <vt:lpwstr>0</vt:lpwstr>
  </property>
</Properties>
</file>